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8" r:id="rId1"/>
    <p:sldMasterId id="2147483698" r:id="rId2"/>
    <p:sldMasterId id="2147483717" r:id="rId3"/>
  </p:sldMasterIdLst>
  <p:notesMasterIdLst>
    <p:notesMasterId r:id="rId13"/>
  </p:notesMasterIdLst>
  <p:sldIdLst>
    <p:sldId id="625" r:id="rId4"/>
    <p:sldId id="309" r:id="rId5"/>
    <p:sldId id="626" r:id="rId6"/>
    <p:sldId id="631" r:id="rId7"/>
    <p:sldId id="629" r:id="rId8"/>
    <p:sldId id="628" r:id="rId9"/>
    <p:sldId id="268" r:id="rId10"/>
    <p:sldId id="315" r:id="rId11"/>
    <p:sldId id="316" r:id="rId12"/>
  </p:sldIdLst>
  <p:sldSz cx="12192000" cy="6858000"/>
  <p:notesSz cx="6858000" cy="9144000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Franklin Gothic" panose="020B0604020202020204" charset="0"/>
      <p:regular r:id="rId18"/>
      <p:bold r:id="rId19"/>
      <p:italic r:id="rId20"/>
      <p:boldItalic r:id="rId21"/>
    </p:embeddedFont>
    <p:embeddedFont>
      <p:font typeface="Lato Black" panose="020F0502020204030203" pitchFamily="34" charset="0"/>
      <p:bold r:id="rId22"/>
      <p:boldItalic r:id="rId23"/>
    </p:embeddedFont>
    <p:embeddedFont>
      <p:font typeface="Libre Franklin" pitchFamily="2" charset="0"/>
      <p:regular r:id="rId24"/>
      <p:bold r:id="rId25"/>
      <p:italic r:id="rId26"/>
      <p:boldItalic r:id="rId27"/>
    </p:embeddedFont>
    <p:embeddedFont>
      <p:font typeface="Noto Sans Symbols" panose="020B0604020202020204" charset="0"/>
      <p:regular r:id="rId28"/>
    </p:embeddedFont>
  </p:embeddedFontLst>
  <p:custDataLst>
    <p:tags r:id="rId2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30" roundtripDataSignature="AMtx7mhE4S3tdcYbMcz4nbzWNHqnQsJKO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6085891-97FF-4366-B01B-A9D25EA9504F}">
  <a:tblStyle styleId="{16085891-97FF-4366-B01B-A9D25EA9504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4" d="100"/>
          <a:sy n="54" d="100"/>
        </p:scale>
        <p:origin x="112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schemas.openxmlformats.org/officeDocument/2006/relationships/font" Target="fonts/font13.fntdata"/><Relationship Id="rId3" Type="http://schemas.openxmlformats.org/officeDocument/2006/relationships/slideMaster" Target="slideMasters/slideMaster3.xml"/><Relationship Id="rId21" Type="http://schemas.openxmlformats.org/officeDocument/2006/relationships/font" Target="fonts/font8.fntdata"/><Relationship Id="rId34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font" Target="fonts/font11.fntdata"/><Relationship Id="rId32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font" Target="fonts/font15.fntdata"/><Relationship Id="rId10" Type="http://schemas.openxmlformats.org/officeDocument/2006/relationships/slide" Target="slides/slide7.xml"/><Relationship Id="rId19" Type="http://schemas.openxmlformats.org/officeDocument/2006/relationships/font" Target="fonts/font6.fntdata"/><Relationship Id="rId31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font" Target="fonts/font14.fntdata"/><Relationship Id="rId30" Type="http://customschemas.google.com/relationships/presentationmetadata" Target="metadata"/><Relationship Id="rId8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5" name="Google Shape;1385;p7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86" name="Google Shape;1386;p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2815197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1" name="Google Shape;1391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92" name="Google Shape;1392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5874252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4" name="Google Shape;1404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405" name="Google Shape;1405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5862231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45148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0" name="Google Shape;1450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451" name="Google Shape;1451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9679105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4" name="Google Shape;1404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405" name="Google Shape;1405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9313452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2" name="Google Shape;1542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543" name="Google Shape;1543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2" name="Google Shape;1632;p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33" name="Google Shape;1633;p7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34" name="Google Shape;1634;p7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Calibri"/>
                <a:buNone/>
                <a:tabLst/>
                <a:defRPr/>
              </a:pPr>
              <a:t>8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416284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" name="Google Shape;1844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45" name="Google Shape;1845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2966504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11.jpg"/><Relationship Id="rId4" Type="http://schemas.openxmlformats.org/officeDocument/2006/relationships/image" Target="../media/image10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acebook.com/Infomineo/" TargetMode="External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hyperlink" Target="https://infomineo.com/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linkedin.com/company-beta/2416143/admin/updates/" TargetMode="External"/><Relationship Id="rId5" Type="http://schemas.openxmlformats.org/officeDocument/2006/relationships/image" Target="../media/image5.png"/><Relationship Id="rId4" Type="http://schemas.openxmlformats.org/officeDocument/2006/relationships/hyperlink" Target="https://infomineo.com/insights/blog/" TargetMode="External"/><Relationship Id="rId9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9.png"/><Relationship Id="rId4" Type="http://schemas.openxmlformats.org/officeDocument/2006/relationships/image" Target="../media/image10.emf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2)" type="title">
  <p:cSld name="Title Slide (Option 2)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46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69998" y="270000"/>
            <a:ext cx="11652001" cy="631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46"/>
          <p:cNvSpPr/>
          <p:nvPr/>
        </p:nvSpPr>
        <p:spPr>
          <a:xfrm>
            <a:off x="536448" y="540000"/>
            <a:ext cx="6363891" cy="6318000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8235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8235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46"/>
          <p:cNvSpPr txBox="1">
            <a:spLocks noGrp="1"/>
          </p:cNvSpPr>
          <p:nvPr>
            <p:ph type="ctrTitle"/>
          </p:nvPr>
        </p:nvSpPr>
        <p:spPr>
          <a:xfrm>
            <a:off x="902896" y="3066686"/>
            <a:ext cx="5337943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46"/>
          <p:cNvSpPr txBox="1">
            <a:spLocks noGrp="1"/>
          </p:cNvSpPr>
          <p:nvPr>
            <p:ph type="subTitle" idx="1"/>
          </p:nvPr>
        </p:nvSpPr>
        <p:spPr>
          <a:xfrm>
            <a:off x="902896" y="4348579"/>
            <a:ext cx="5337943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46"/>
          <p:cNvSpPr txBox="1">
            <a:spLocks noGrp="1"/>
          </p:cNvSpPr>
          <p:nvPr>
            <p:ph type="dt" idx="10"/>
          </p:nvPr>
        </p:nvSpPr>
        <p:spPr>
          <a:xfrm>
            <a:off x="902896" y="5923689"/>
            <a:ext cx="1599925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38" name="Google Shape;38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02896" y="901732"/>
            <a:ext cx="2497452" cy="5742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7270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Left">
  <p:cSld name="1/2 Blue on Left"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64"/>
          <p:cNvSpPr/>
          <p:nvPr/>
        </p:nvSpPr>
        <p:spPr>
          <a:xfrm>
            <a:off x="0" y="-1"/>
            <a:ext cx="6098537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8235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" name="Google Shape;206;p64"/>
          <p:cNvSpPr txBox="1">
            <a:spLocks noGrp="1"/>
          </p:cNvSpPr>
          <p:nvPr>
            <p:ph type="title"/>
          </p:nvPr>
        </p:nvSpPr>
        <p:spPr>
          <a:xfrm>
            <a:off x="539400" y="562840"/>
            <a:ext cx="5074328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p6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8" name="Google Shape;208;p64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9" name="Google Shape;209;p64"/>
          <p:cNvSpPr txBox="1">
            <a:spLocks noGrp="1"/>
          </p:cNvSpPr>
          <p:nvPr>
            <p:ph type="ftr" idx="11"/>
          </p:nvPr>
        </p:nvSpPr>
        <p:spPr>
          <a:xfrm>
            <a:off x="549232" y="6465614"/>
            <a:ext cx="507432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895976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 BG (with Title)">
  <p:cSld name="Gradient BG (with Title)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6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8235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p6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13" name="Google Shape;213;p6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14" name="Google Shape;214;p6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15" name="Google Shape;215;p6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16;p6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17;p6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18;p6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219;p6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0;p6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1;p6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2;p6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3;p6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4;p6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5;p6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6;p6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;p6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8" name="Google Shape;228;p6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9" name="Google Shape;229;p6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0" name="Google Shape;230;p6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24393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Gradient BG (with Title)">
  <p:cSld name="1_Gradient BG (with Title)"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6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8235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33" name="Google Shape;233;p66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34" name="Google Shape;234;p66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Google Shape;235;p66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36;p66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237;p66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66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39;p66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40;p66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41;p66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42;p66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43;p66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44;p66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45;p66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66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7" name="Google Shape;247;p66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8" name="Google Shape;248;p6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9" name="Google Shape;249;p66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19541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Right">
  <p:cSld name="1/3 Blue on Right"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67"/>
          <p:cNvSpPr/>
          <p:nvPr/>
        </p:nvSpPr>
        <p:spPr>
          <a:xfrm>
            <a:off x="8134763" y="-1"/>
            <a:ext cx="4059776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8235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" name="Google Shape;252;p67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726112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3" name="Google Shape;253;p67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4" name="Google Shape;254;p67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5" name="Google Shape;255;p67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56" name="Google Shape;256;p67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67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67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67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67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67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67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67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67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67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67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67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67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9" name="Google Shape;269;p67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Google Shape;270;p67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72764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969528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Breaker Slide_2">
    <p:bg>
      <p:bgPr>
        <a:solidFill>
          <a:schemeClr val="lt2"/>
        </a:solidFill>
        <a:effectLst/>
      </p:bgPr>
    </p:bg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2" name="Google Shape;27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3" name="Google Shape;273;p6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8235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4" name="Google Shape;274;p69"/>
          <p:cNvSpPr txBox="1"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8235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5" name="Google Shape;275;p69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76" name="Google Shape;276;p69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69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69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69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69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69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69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69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69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69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69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69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69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9" name="Google Shape;289;p69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0" name="Google Shape;290;p6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1" name="Google Shape;291;p69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72173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70"/>
          <p:cNvSpPr/>
          <p:nvPr/>
        </p:nvSpPr>
        <p:spPr>
          <a:xfrm>
            <a:off x="0" y="0"/>
            <a:ext cx="12193200" cy="6858000"/>
          </a:xfrm>
          <a:custGeom>
            <a:avLst/>
            <a:gdLst/>
            <a:ahLst/>
            <a:cxnLst/>
            <a:rect l="l" t="t" r="r" b="b"/>
            <a:pathLst>
              <a:path w="12193200" h="6858000" extrusionOk="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3137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94" name="Google Shape;294;p70"/>
          <p:cNvGrpSpPr/>
          <p:nvPr/>
        </p:nvGrpSpPr>
        <p:grpSpPr>
          <a:xfrm>
            <a:off x="-600" y="549275"/>
            <a:ext cx="12193201" cy="5759450"/>
            <a:chOff x="-600" y="549275"/>
            <a:chExt cx="12193201" cy="5759450"/>
          </a:xfrm>
        </p:grpSpPr>
        <p:cxnSp>
          <p:nvCxnSpPr>
            <p:cNvPr id="295" name="Google Shape;295;p70"/>
            <p:cNvCxnSpPr/>
            <p:nvPr/>
          </p:nvCxnSpPr>
          <p:spPr>
            <a:xfrm>
              <a:off x="-600" y="54927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6" name="Google Shape;296;p70"/>
            <p:cNvCxnSpPr/>
            <p:nvPr/>
          </p:nvCxnSpPr>
          <p:spPr>
            <a:xfrm>
              <a:off x="-600" y="107286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7" name="Google Shape;297;p70"/>
            <p:cNvCxnSpPr/>
            <p:nvPr/>
          </p:nvCxnSpPr>
          <p:spPr>
            <a:xfrm>
              <a:off x="-600" y="133465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8" name="Google Shape;298;p70"/>
            <p:cNvCxnSpPr/>
            <p:nvPr/>
          </p:nvCxnSpPr>
          <p:spPr>
            <a:xfrm>
              <a:off x="-600" y="159644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9" name="Google Shape;299;p70"/>
            <p:cNvCxnSpPr/>
            <p:nvPr/>
          </p:nvCxnSpPr>
          <p:spPr>
            <a:xfrm>
              <a:off x="-600" y="185824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0" name="Google Shape;300;p70"/>
            <p:cNvCxnSpPr/>
            <p:nvPr/>
          </p:nvCxnSpPr>
          <p:spPr>
            <a:xfrm>
              <a:off x="-600" y="212003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1" name="Google Shape;301;p70"/>
            <p:cNvCxnSpPr/>
            <p:nvPr/>
          </p:nvCxnSpPr>
          <p:spPr>
            <a:xfrm>
              <a:off x="-600" y="238182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2" name="Google Shape;302;p70"/>
            <p:cNvCxnSpPr/>
            <p:nvPr/>
          </p:nvCxnSpPr>
          <p:spPr>
            <a:xfrm>
              <a:off x="-600" y="264361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3" name="Google Shape;303;p70"/>
            <p:cNvCxnSpPr/>
            <p:nvPr/>
          </p:nvCxnSpPr>
          <p:spPr>
            <a:xfrm>
              <a:off x="-600" y="290541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4" name="Google Shape;304;p70"/>
            <p:cNvCxnSpPr/>
            <p:nvPr/>
          </p:nvCxnSpPr>
          <p:spPr>
            <a:xfrm>
              <a:off x="-600" y="316720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5" name="Google Shape;305;p70"/>
            <p:cNvCxnSpPr/>
            <p:nvPr/>
          </p:nvCxnSpPr>
          <p:spPr>
            <a:xfrm>
              <a:off x="-600" y="342899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6" name="Google Shape;306;p70"/>
            <p:cNvCxnSpPr/>
            <p:nvPr/>
          </p:nvCxnSpPr>
          <p:spPr>
            <a:xfrm>
              <a:off x="-600" y="369079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7" name="Google Shape;307;p70"/>
            <p:cNvCxnSpPr/>
            <p:nvPr/>
          </p:nvCxnSpPr>
          <p:spPr>
            <a:xfrm>
              <a:off x="-600" y="395258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8" name="Google Shape;308;p70"/>
            <p:cNvCxnSpPr/>
            <p:nvPr/>
          </p:nvCxnSpPr>
          <p:spPr>
            <a:xfrm>
              <a:off x="-600" y="421437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9" name="Google Shape;309;p70"/>
            <p:cNvCxnSpPr/>
            <p:nvPr/>
          </p:nvCxnSpPr>
          <p:spPr>
            <a:xfrm>
              <a:off x="-600" y="447617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0" name="Google Shape;310;p70"/>
            <p:cNvCxnSpPr/>
            <p:nvPr/>
          </p:nvCxnSpPr>
          <p:spPr>
            <a:xfrm>
              <a:off x="-600" y="473796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1" name="Google Shape;311;p70"/>
            <p:cNvCxnSpPr/>
            <p:nvPr/>
          </p:nvCxnSpPr>
          <p:spPr>
            <a:xfrm>
              <a:off x="-600" y="499975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2" name="Google Shape;312;p70"/>
            <p:cNvCxnSpPr/>
            <p:nvPr/>
          </p:nvCxnSpPr>
          <p:spPr>
            <a:xfrm>
              <a:off x="-600" y="526154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3" name="Google Shape;313;p70"/>
            <p:cNvCxnSpPr/>
            <p:nvPr/>
          </p:nvCxnSpPr>
          <p:spPr>
            <a:xfrm>
              <a:off x="-600" y="552334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" name="Google Shape;314;p70"/>
            <p:cNvCxnSpPr/>
            <p:nvPr/>
          </p:nvCxnSpPr>
          <p:spPr>
            <a:xfrm>
              <a:off x="-600" y="578513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5" name="Google Shape;315;p70"/>
            <p:cNvCxnSpPr/>
            <p:nvPr/>
          </p:nvCxnSpPr>
          <p:spPr>
            <a:xfrm>
              <a:off x="-600" y="81106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6" name="Google Shape;316;p70"/>
            <p:cNvCxnSpPr/>
            <p:nvPr/>
          </p:nvCxnSpPr>
          <p:spPr>
            <a:xfrm>
              <a:off x="-600" y="630872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7" name="Google Shape;317;p70"/>
            <p:cNvCxnSpPr/>
            <p:nvPr/>
          </p:nvCxnSpPr>
          <p:spPr>
            <a:xfrm>
              <a:off x="-600" y="604692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318" name="Google Shape;318;p70"/>
          <p:cNvSpPr/>
          <p:nvPr/>
        </p:nvSpPr>
        <p:spPr>
          <a:xfrm>
            <a:off x="550263" y="6308721"/>
            <a:ext cx="11090873" cy="261799"/>
          </a:xfrm>
          <a:prstGeom prst="rect">
            <a:avLst/>
          </a:prstGeom>
          <a:solidFill>
            <a:srgbClr val="FF0000">
              <a:alpha val="8235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319;p70"/>
          <p:cNvSpPr/>
          <p:nvPr/>
        </p:nvSpPr>
        <p:spPr>
          <a:xfrm>
            <a:off x="550864" y="1348221"/>
            <a:ext cx="11105556" cy="509202"/>
          </a:xfrm>
          <a:prstGeom prst="rect">
            <a:avLst/>
          </a:prstGeom>
          <a:solidFill>
            <a:srgbClr val="FF0000">
              <a:alpha val="3137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0" name="Google Shape;320;p70"/>
          <p:cNvSpPr/>
          <p:nvPr/>
        </p:nvSpPr>
        <p:spPr>
          <a:xfrm>
            <a:off x="550863" y="2120033"/>
            <a:ext cx="11090275" cy="4188692"/>
          </a:xfrm>
          <a:custGeom>
            <a:avLst/>
            <a:gdLst/>
            <a:ahLst/>
            <a:cxnLst/>
            <a:rect l="l" t="t" r="r" b="b"/>
            <a:pathLst>
              <a:path w="10931999" h="5537797" extrusionOk="0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 cap="flat" cmpd="sng">
            <a:solidFill>
              <a:schemeClr val="dk2">
                <a:alpha val="33333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21" name="Google Shape;321;p70"/>
          <p:cNvGrpSpPr/>
          <p:nvPr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</p:grpSpPr>
        <p:sp>
          <p:nvSpPr>
            <p:cNvPr id="322" name="Google Shape;322;p70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323;p70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324;p70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325;p70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326;p70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327;p70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328;p70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329;p70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330;p70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331;p70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332;p70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3" name="Google Shape;333;p70"/>
          <p:cNvSpPr txBox="1"/>
          <p:nvPr/>
        </p:nvSpPr>
        <p:spPr>
          <a:xfrm>
            <a:off x="550862" y="6309543"/>
            <a:ext cx="9030915" cy="277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4" name="Google Shape;334;p70"/>
          <p:cNvSpPr txBox="1">
            <a:spLocks noGrp="1"/>
          </p:cNvSpPr>
          <p:nvPr>
            <p:ph type="sldNum" idx="12"/>
          </p:nvPr>
        </p:nvSpPr>
        <p:spPr>
          <a:xfrm>
            <a:off x="11490153" y="6450225"/>
            <a:ext cx="150682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5" name="Google Shape;335;p7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6" name="Google Shape;336;p70"/>
          <p:cNvGrpSpPr/>
          <p:nvPr/>
        </p:nvGrpSpPr>
        <p:grpSpPr>
          <a:xfrm>
            <a:off x="550864" y="6156603"/>
            <a:ext cx="11089971" cy="55199"/>
            <a:chOff x="550864" y="6156603"/>
            <a:chExt cx="11089971" cy="55199"/>
          </a:xfrm>
        </p:grpSpPr>
        <p:sp>
          <p:nvSpPr>
            <p:cNvPr id="337" name="Google Shape;337;p70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338;p70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339;p70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340;p70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341;p70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68896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Full-width Page">
  <p:cSld name="5_Full-width Page"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3" name="Google Shape;343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" y="0"/>
            <a:ext cx="349249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44" name="Google Shape;344;p71"/>
          <p:cNvSpPr/>
          <p:nvPr/>
        </p:nvSpPr>
        <p:spPr>
          <a:xfrm>
            <a:off x="0" y="-1"/>
            <a:ext cx="3492497" cy="6857999"/>
          </a:xfrm>
          <a:prstGeom prst="rect">
            <a:avLst/>
          </a:prstGeom>
          <a:gradFill>
            <a:gsLst>
              <a:gs pos="0">
                <a:schemeClr val="dk2"/>
              </a:gs>
              <a:gs pos="76000">
                <a:srgbClr val="4873F5">
                  <a:alpha val="83137"/>
                </a:srgbClr>
              </a:gs>
              <a:gs pos="100000">
                <a:srgbClr val="00B9FF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" name="Google Shape;345;p71"/>
          <p:cNvSpPr txBox="1">
            <a:spLocks noGrp="1"/>
          </p:cNvSpPr>
          <p:nvPr>
            <p:ph type="title"/>
          </p:nvPr>
        </p:nvSpPr>
        <p:spPr>
          <a:xfrm>
            <a:off x="376385" y="410423"/>
            <a:ext cx="3023598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46" name="Google Shape;346;p71"/>
          <p:cNvCxnSpPr/>
          <p:nvPr/>
        </p:nvCxnSpPr>
        <p:spPr>
          <a:xfrm>
            <a:off x="362847" y="361101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2652249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Right">
  <p:cSld name="1/2 Blue on Right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48"/>
          <p:cNvSpPr/>
          <p:nvPr/>
        </p:nvSpPr>
        <p:spPr>
          <a:xfrm>
            <a:off x="6096000" y="-1"/>
            <a:ext cx="6098539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" name="Google Shape;66;p48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52050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48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" name="Google Shape;68;p48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9" name="Google Shape;69;p4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70" name="Google Shape;70;p4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71;p4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72;p4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73;p4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74;p4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75;p4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76;p4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77;p4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78;p4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79;p4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80;p4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81;p4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82;p4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" name="Google Shape;83;p4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Google Shape;84;p4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22035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819606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only (with background)">
  <p:cSld name="2_Title only (with background)">
    <p:bg>
      <p:bgPr>
        <a:solidFill>
          <a:schemeClr val="lt2"/>
        </a:solidFill>
        <a:effectLst/>
      </p:bgPr>
    </p:bg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7" name="Google Shape;707;p83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488916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" name="Google Shape;708;p8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709" name="Google Shape;709;p83"/>
          <p:cNvGrpSpPr/>
          <p:nvPr/>
        </p:nvGrpSpPr>
        <p:grpSpPr>
          <a:xfrm>
            <a:off x="11979441" y="4535495"/>
            <a:ext cx="110800" cy="2041948"/>
            <a:chOff x="11979441" y="4535495"/>
            <a:chExt cx="110800" cy="2041948"/>
          </a:xfrm>
        </p:grpSpPr>
        <p:grpSp>
          <p:nvGrpSpPr>
            <p:cNvPr id="710" name="Google Shape;710;p83"/>
            <p:cNvGrpSpPr/>
            <p:nvPr/>
          </p:nvGrpSpPr>
          <p:grpSpPr>
            <a:xfrm>
              <a:off x="11998460" y="6135518"/>
              <a:ext cx="68500" cy="441925"/>
              <a:chOff x="11998459" y="6162188"/>
              <a:chExt cx="68500" cy="441925"/>
            </a:xfrm>
          </p:grpSpPr>
          <p:sp>
            <p:nvSpPr>
              <p:cNvPr id="711" name="Google Shape;711;p83"/>
              <p:cNvSpPr/>
              <p:nvPr/>
            </p:nvSpPr>
            <p:spPr>
              <a:xfrm rot="-5400000">
                <a:off x="12063068" y="6476346"/>
                <a:ext cx="17" cy="1717"/>
              </a:xfrm>
              <a:custGeom>
                <a:avLst/>
                <a:gdLst/>
                <a:ahLst/>
                <a:cxnLst/>
                <a:rect l="l" t="t" r="r" b="b"/>
                <a:pathLst>
                  <a:path w="17" h="1717" extrusionOk="0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2" name="Google Shape;712;p83"/>
              <p:cNvSpPr/>
              <p:nvPr/>
            </p:nvSpPr>
            <p:spPr>
              <a:xfrm rot="-5400000">
                <a:off x="12023737" y="6455896"/>
                <a:ext cx="453" cy="271"/>
              </a:xfrm>
              <a:custGeom>
                <a:avLst/>
                <a:gdLst/>
                <a:ahLst/>
                <a:cxnLst/>
                <a:rect l="l" t="t" r="r" b="b"/>
                <a:pathLst>
                  <a:path w="453" h="271" extrusionOk="0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3" name="Google Shape;713;p83"/>
              <p:cNvSpPr/>
              <p:nvPr/>
            </p:nvSpPr>
            <p:spPr>
              <a:xfrm rot="-5400000">
                <a:off x="12023907" y="6477766"/>
                <a:ext cx="15" cy="76"/>
              </a:xfrm>
              <a:custGeom>
                <a:avLst/>
                <a:gdLst/>
                <a:ahLst/>
                <a:cxnLst/>
                <a:rect l="l" t="t" r="r" b="b"/>
                <a:pathLst>
                  <a:path w="15" h="76" extrusionOk="0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4" name="Google Shape;714;p83"/>
              <p:cNvSpPr/>
              <p:nvPr/>
            </p:nvSpPr>
            <p:spPr>
              <a:xfrm rot="-5400000">
                <a:off x="12021636" y="6473651"/>
                <a:ext cx="261" cy="103"/>
              </a:xfrm>
              <a:custGeom>
                <a:avLst/>
                <a:gdLst/>
                <a:ahLst/>
                <a:cxnLst/>
                <a:rect l="l" t="t" r="r" b="b"/>
                <a:pathLst>
                  <a:path w="261" h="103" extrusionOk="0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" name="Google Shape;715;p83"/>
              <p:cNvSpPr/>
              <p:nvPr/>
            </p:nvSpPr>
            <p:spPr>
              <a:xfrm rot="-5400000">
                <a:off x="12015635" y="6442208"/>
                <a:ext cx="51323" cy="51323"/>
              </a:xfrm>
              <a:custGeom>
                <a:avLst/>
                <a:gdLst/>
                <a:ahLst/>
                <a:cxnLst/>
                <a:rect l="l" t="t" r="r" b="b"/>
                <a:pathLst>
                  <a:path w="51323" h="51323" extrusionOk="0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6" name="Google Shape;716;p83"/>
              <p:cNvSpPr/>
              <p:nvPr/>
            </p:nvSpPr>
            <p:spPr>
              <a:xfrm rot="-5400000">
                <a:off x="12026199" y="6563439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7" name="Google Shape;717;p83"/>
              <p:cNvSpPr/>
              <p:nvPr/>
            </p:nvSpPr>
            <p:spPr>
              <a:xfrm rot="-5400000">
                <a:off x="12018640" y="6529825"/>
                <a:ext cx="45208" cy="51256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6" extrusionOk="0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8" name="Google Shape;718;p83"/>
              <p:cNvSpPr/>
              <p:nvPr/>
            </p:nvSpPr>
            <p:spPr>
              <a:xfrm rot="-5400000">
                <a:off x="12018195" y="6477145"/>
                <a:ext cx="28942" cy="68414"/>
              </a:xfrm>
              <a:custGeom>
                <a:avLst/>
                <a:gdLst/>
                <a:ahLst/>
                <a:cxnLst/>
                <a:rect l="l" t="t" r="r" b="b"/>
                <a:pathLst>
                  <a:path w="28942" h="68414" extrusionOk="0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9" name="Google Shape;719;p83"/>
              <p:cNvSpPr/>
              <p:nvPr/>
            </p:nvSpPr>
            <p:spPr>
              <a:xfrm rot="-5400000">
                <a:off x="12016830" y="6161182"/>
                <a:ext cx="49036" cy="51048"/>
              </a:xfrm>
              <a:custGeom>
                <a:avLst/>
                <a:gdLst/>
                <a:ahLst/>
                <a:cxnLst/>
                <a:rect l="l" t="t" r="r" b="b"/>
                <a:pathLst>
                  <a:path w="49036" h="51048" extrusionOk="0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0" name="Google Shape;720;p83"/>
              <p:cNvSpPr/>
              <p:nvPr/>
            </p:nvSpPr>
            <p:spPr>
              <a:xfrm rot="-5400000">
                <a:off x="12005374" y="6370523"/>
                <a:ext cx="71791" cy="51205"/>
              </a:xfrm>
              <a:custGeom>
                <a:avLst/>
                <a:gdLst/>
                <a:ahLst/>
                <a:cxnLst/>
                <a:rect l="l" t="t" r="r" b="b"/>
                <a:pathLst>
                  <a:path w="71791" h="51205" extrusionOk="0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1" name="Google Shape;721;p83"/>
              <p:cNvSpPr/>
              <p:nvPr/>
            </p:nvSpPr>
            <p:spPr>
              <a:xfrm rot="-5400000">
                <a:off x="12026199" y="6307354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2" name="Google Shape;722;p83"/>
              <p:cNvSpPr/>
              <p:nvPr/>
            </p:nvSpPr>
            <p:spPr>
              <a:xfrm rot="-5400000">
                <a:off x="12018641" y="6273739"/>
                <a:ext cx="45208" cy="51255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5" extrusionOk="0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3" name="Google Shape;723;p83"/>
              <p:cNvSpPr/>
              <p:nvPr/>
            </p:nvSpPr>
            <p:spPr>
              <a:xfrm rot="-5400000">
                <a:off x="12017163" y="6218687"/>
                <a:ext cx="48082" cy="51510"/>
              </a:xfrm>
              <a:custGeom>
                <a:avLst/>
                <a:gdLst/>
                <a:ahLst/>
                <a:cxnLst/>
                <a:rect l="l" t="t" r="r" b="b"/>
                <a:pathLst>
                  <a:path w="48082" h="51510" extrusionOk="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pic>
          <p:nvPicPr>
            <p:cNvPr id="724" name="Google Shape;724;p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rot="-5400000">
              <a:off x="11811888" y="6322371"/>
              <a:ext cx="441438" cy="6870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25" name="Google Shape;725;p83"/>
            <p:cNvSpPr txBox="1"/>
            <p:nvPr/>
          </p:nvSpPr>
          <p:spPr>
            <a:xfrm rot="-5400000">
              <a:off x="11250972" y="5263963"/>
              <a:ext cx="1567737" cy="110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0. All rights reserved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26" name="Google Shape;726;p83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409196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>
  <p:cSld name="Breaker Slide_1">
    <p:bg>
      <p:bgPr>
        <a:solidFill>
          <a:schemeClr val="lt2"/>
        </a:solidFill>
        <a:effectLst/>
      </p:bgPr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546118-5F3D-2B52-CD65-2348AB66EC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0964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546118-5F3D-2B52-CD65-2348AB66E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A19B082-8E71-5320-8941-5F48F11AE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13835"/>
          <a:stretch/>
        </p:blipFill>
        <p:spPr>
          <a:xfrm>
            <a:off x="0" y="-6562"/>
            <a:ext cx="12192000" cy="6864562"/>
          </a:xfrm>
          <a:prstGeom prst="rect">
            <a:avLst/>
          </a:prstGeom>
        </p:spPr>
      </p:pic>
      <p:sp>
        <p:nvSpPr>
          <p:cNvPr id="46" name="Google Shape;46;p68"/>
          <p:cNvSpPr/>
          <p:nvPr/>
        </p:nvSpPr>
        <p:spPr>
          <a:xfrm>
            <a:off x="0" y="3853542"/>
            <a:ext cx="6240463" cy="2261507"/>
          </a:xfrm>
          <a:prstGeom prst="rect">
            <a:avLst/>
          </a:prstGeom>
          <a:gradFill>
            <a:gsLst>
              <a:gs pos="0">
                <a:srgbClr val="062379">
                  <a:alpha val="80000"/>
                </a:srgbClr>
              </a:gs>
              <a:gs pos="55000">
                <a:srgbClr val="385ED2">
                  <a:alpha val="80000"/>
                </a:srgbClr>
              </a:gs>
              <a:gs pos="76000">
                <a:srgbClr val="4873F5">
                  <a:alpha val="80000"/>
                </a:srgbClr>
              </a:gs>
              <a:gs pos="100000">
                <a:srgbClr val="43E1D3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47;p68"/>
          <p:cNvSpPr txBox="1">
            <a:spLocks noGrp="1"/>
          </p:cNvSpPr>
          <p:nvPr>
            <p:ph type="title"/>
          </p:nvPr>
        </p:nvSpPr>
        <p:spPr>
          <a:xfrm>
            <a:off x="589046" y="4199465"/>
            <a:ext cx="5400674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843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grpSp>
        <p:nvGrpSpPr>
          <p:cNvPr id="48" name="Google Shape;48;p6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49" name="Google Shape;49;p6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6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51;p6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6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6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6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6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6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6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6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6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6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6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2" name="Google Shape;62;p6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6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52692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47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2" name="Google Shape;42;p47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73979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136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136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488916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851127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(with background)">
  <p:cSld name="Title only (with background)">
    <p:bg>
      <p:bgPr>
        <a:solidFill>
          <a:schemeClr val="lt2"/>
        </a:solidFill>
        <a:effectLst/>
      </p:bgPr>
    </p:bg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4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4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1" name="Google Shape;91;p49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502454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 (with background)">
  <p:cSld name="1_Title only (with background)">
    <p:bg>
      <p:bgPr>
        <a:solidFill>
          <a:schemeClr val="lt2"/>
        </a:solidFill>
        <a:effectLst/>
      </p:bgPr>
    </p:bg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5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5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6" name="Google Shape;146;p5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50"/>
          <p:cNvSpPr txBox="1">
            <a:spLocks noGrp="1"/>
          </p:cNvSpPr>
          <p:nvPr>
            <p:ph type="body" idx="1"/>
          </p:nvPr>
        </p:nvSpPr>
        <p:spPr>
          <a:xfrm>
            <a:off x="550862" y="1028324"/>
            <a:ext cx="11089972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6D90F8"/>
              </a:buClr>
              <a:buSzPts val="2000"/>
              <a:buNone/>
              <a:defRPr sz="2000">
                <a:solidFill>
                  <a:srgbClr val="6D90F8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06626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Without Title">
  <p:cSld name="Without Title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5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50" name="Google Shape;150;p5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51" name="Google Shape;151;p5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152;p5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153;p5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154;p5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5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156;p5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157;p5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158;p5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159;p5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160;p5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5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162;p5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163;p5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64" name="Google Shape;164;p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165" name="Google Shape;165;p5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6" name="Google Shape;166;p5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596194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2 Column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5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5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0" name="Google Shape;170;p59"/>
          <p:cNvSpPr txBox="1">
            <a:spLocks noGrp="1"/>
          </p:cNvSpPr>
          <p:nvPr>
            <p:ph type="body" idx="1"/>
          </p:nvPr>
        </p:nvSpPr>
        <p:spPr>
          <a:xfrm>
            <a:off x="550863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59"/>
          <p:cNvSpPr txBox="1">
            <a:spLocks noGrp="1"/>
          </p:cNvSpPr>
          <p:nvPr>
            <p:ph type="body" idx="2"/>
          </p:nvPr>
        </p:nvSpPr>
        <p:spPr>
          <a:xfrm>
            <a:off x="550863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" name="Google Shape;172;p59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" name="Google Shape;173;p59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59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045488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6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6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" name="Google Shape;178;p60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35069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60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35069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60"/>
          <p:cNvSpPr txBox="1">
            <a:spLocks noGrp="1"/>
          </p:cNvSpPr>
          <p:nvPr>
            <p:ph type="body" idx="3"/>
          </p:nvPr>
        </p:nvSpPr>
        <p:spPr>
          <a:xfrm>
            <a:off x="8135839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60"/>
          <p:cNvSpPr txBox="1">
            <a:spLocks noGrp="1"/>
          </p:cNvSpPr>
          <p:nvPr>
            <p:ph type="body" idx="4"/>
          </p:nvPr>
        </p:nvSpPr>
        <p:spPr>
          <a:xfrm>
            <a:off x="8135839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60"/>
          <p:cNvSpPr txBox="1">
            <a:spLocks noGrp="1"/>
          </p:cNvSpPr>
          <p:nvPr>
            <p:ph type="body" idx="5"/>
          </p:nvPr>
        </p:nvSpPr>
        <p:spPr>
          <a:xfrm>
            <a:off x="4344162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60"/>
          <p:cNvSpPr txBox="1">
            <a:spLocks noGrp="1"/>
          </p:cNvSpPr>
          <p:nvPr>
            <p:ph type="body" idx="6"/>
          </p:nvPr>
        </p:nvSpPr>
        <p:spPr>
          <a:xfrm>
            <a:off x="4344162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6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589794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">
  <p:cSld name="5 Column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62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p6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8" name="Google Shape;188;p62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62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" name="Google Shape;190;p62"/>
          <p:cNvSpPr txBox="1">
            <a:spLocks noGrp="1"/>
          </p:cNvSpPr>
          <p:nvPr>
            <p:ph type="body" idx="3"/>
          </p:nvPr>
        </p:nvSpPr>
        <p:spPr>
          <a:xfrm>
            <a:off x="5104050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" name="Google Shape;191;p62"/>
          <p:cNvSpPr txBox="1">
            <a:spLocks noGrp="1"/>
          </p:cNvSpPr>
          <p:nvPr>
            <p:ph type="body" idx="4"/>
          </p:nvPr>
        </p:nvSpPr>
        <p:spPr>
          <a:xfrm>
            <a:off x="5104050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62"/>
          <p:cNvSpPr txBox="1">
            <a:spLocks noGrp="1"/>
          </p:cNvSpPr>
          <p:nvPr>
            <p:ph type="body" idx="5"/>
          </p:nvPr>
        </p:nvSpPr>
        <p:spPr>
          <a:xfrm>
            <a:off x="2827457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" name="Google Shape;193;p62"/>
          <p:cNvSpPr txBox="1">
            <a:spLocks noGrp="1"/>
          </p:cNvSpPr>
          <p:nvPr>
            <p:ph type="body" idx="6"/>
          </p:nvPr>
        </p:nvSpPr>
        <p:spPr>
          <a:xfrm>
            <a:off x="2827457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62"/>
          <p:cNvSpPr txBox="1">
            <a:spLocks noGrp="1"/>
          </p:cNvSpPr>
          <p:nvPr>
            <p:ph type="body" idx="7"/>
          </p:nvPr>
        </p:nvSpPr>
        <p:spPr>
          <a:xfrm>
            <a:off x="7380643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" name="Google Shape;195;p62"/>
          <p:cNvSpPr txBox="1">
            <a:spLocks noGrp="1"/>
          </p:cNvSpPr>
          <p:nvPr>
            <p:ph type="body" idx="8"/>
          </p:nvPr>
        </p:nvSpPr>
        <p:spPr>
          <a:xfrm>
            <a:off x="7380643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" name="Google Shape;196;p62"/>
          <p:cNvSpPr txBox="1">
            <a:spLocks noGrp="1"/>
          </p:cNvSpPr>
          <p:nvPr>
            <p:ph type="body" idx="9"/>
          </p:nvPr>
        </p:nvSpPr>
        <p:spPr>
          <a:xfrm>
            <a:off x="9660801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62"/>
          <p:cNvSpPr txBox="1">
            <a:spLocks noGrp="1"/>
          </p:cNvSpPr>
          <p:nvPr>
            <p:ph type="body" idx="13"/>
          </p:nvPr>
        </p:nvSpPr>
        <p:spPr>
          <a:xfrm>
            <a:off x="9660801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" name="Google Shape;198;p62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355736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_2">
  <p:cSld name="1/3 Blue on Left_2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63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784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" name="Google Shape;201;p63"/>
          <p:cNvSpPr txBox="1">
            <a:spLocks noGrp="1"/>
          </p:cNvSpPr>
          <p:nvPr>
            <p:ph type="title"/>
          </p:nvPr>
        </p:nvSpPr>
        <p:spPr>
          <a:xfrm>
            <a:off x="566141" y="2546064"/>
            <a:ext cx="3032465" cy="1765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  <a:defRPr sz="45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" name="Google Shape;202;p6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3" name="Google Shape;203;p63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72517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Left">
  <p:cSld name="1/2 Blue on Left"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64"/>
          <p:cNvSpPr/>
          <p:nvPr/>
        </p:nvSpPr>
        <p:spPr>
          <a:xfrm>
            <a:off x="0" y="-1"/>
            <a:ext cx="6098537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784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" name="Google Shape;206;p64"/>
          <p:cNvSpPr txBox="1">
            <a:spLocks noGrp="1"/>
          </p:cNvSpPr>
          <p:nvPr>
            <p:ph type="title"/>
          </p:nvPr>
        </p:nvSpPr>
        <p:spPr>
          <a:xfrm>
            <a:off x="539400" y="562840"/>
            <a:ext cx="5074328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p6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8" name="Google Shape;208;p64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9" name="Google Shape;209;p64"/>
          <p:cNvSpPr txBox="1">
            <a:spLocks noGrp="1"/>
          </p:cNvSpPr>
          <p:nvPr>
            <p:ph type="ftr" idx="11"/>
          </p:nvPr>
        </p:nvSpPr>
        <p:spPr>
          <a:xfrm>
            <a:off x="549232" y="6465614"/>
            <a:ext cx="507432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81808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 BG (with Title)">
  <p:cSld name="Gradient BG (with Title)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6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p6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13" name="Google Shape;213;p6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14" name="Google Shape;214;p6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15" name="Google Shape;215;p6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16;p6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17;p6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18;p6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219;p6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0;p6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1;p6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2;p6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3;p6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4;p6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5;p6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6;p6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;p6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8" name="Google Shape;228;p6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9" name="Google Shape;229;p6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0" name="Google Shape;230;p6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617795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ast Page">
  <p:cSld name="Last Page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5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8235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" name="Google Shape;138;p57"/>
          <p:cNvSpPr txBox="1"/>
          <p:nvPr/>
        </p:nvSpPr>
        <p:spPr>
          <a:xfrm>
            <a:off x="550863" y="5965461"/>
            <a:ext cx="3028906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sng" strike="noStrike" cap="none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nfomineo.com</a:t>
            </a:r>
            <a:endParaRPr sz="1200" b="1" i="0" u="none" strike="noStrike" cap="none">
              <a:solidFill>
                <a:srgbClr val="43E1D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nfomineo 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9" name="Google Shape;139;p5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56669" y="3006053"/>
            <a:ext cx="3678662" cy="845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140" name="Google Shape;140;p57">
            <a:hlinkClick r:id="rId4"/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323329" y="5965461"/>
            <a:ext cx="370332" cy="3703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41" name="Google Shape;141;p57">
            <a:hlinkClick r:id="rId6"/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825964" y="5965461"/>
            <a:ext cx="368808" cy="3703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42" name="Google Shape;142;p57">
            <a:hlinkClick r:id="rId8"/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0328599" y="5965461"/>
            <a:ext cx="368808" cy="3703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606019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Gradient BG (with Title)">
  <p:cSld name="1_Gradient BG (with Title)"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6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33" name="Google Shape;233;p66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34" name="Google Shape;234;p66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Google Shape;235;p66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36;p66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237;p66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66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39;p66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40;p66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41;p66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42;p66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43;p66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44;p66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45;p66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66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7" name="Google Shape;247;p66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8" name="Google Shape;248;p6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9" name="Google Shape;249;p66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2904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Right">
  <p:cSld name="1/3 Blue on Right"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67"/>
          <p:cNvSpPr/>
          <p:nvPr/>
        </p:nvSpPr>
        <p:spPr>
          <a:xfrm>
            <a:off x="8134763" y="-1"/>
            <a:ext cx="4059776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" name="Google Shape;252;p67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726112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3" name="Google Shape;253;p67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4" name="Google Shape;254;p67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5" name="Google Shape;255;p67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56" name="Google Shape;256;p67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67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67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67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67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67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67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67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67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67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67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67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67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9" name="Google Shape;269;p67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Google Shape;270;p67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72764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692274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Breaker Slide_2">
    <p:bg>
      <p:bgPr>
        <a:solidFill>
          <a:schemeClr val="lt2"/>
        </a:solidFill>
        <a:effectLst/>
      </p:bgPr>
    </p:bg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2" name="Google Shape;27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3" name="Google Shape;273;p6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7843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4" name="Google Shape;274;p69"/>
          <p:cNvSpPr txBox="1"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843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5" name="Google Shape;275;p69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76" name="Google Shape;276;p69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69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69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69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69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69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69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69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69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69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69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69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69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9" name="Google Shape;289;p69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0" name="Google Shape;290;p6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1" name="Google Shape;291;p69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8635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70"/>
          <p:cNvSpPr/>
          <p:nvPr/>
        </p:nvSpPr>
        <p:spPr>
          <a:xfrm>
            <a:off x="0" y="0"/>
            <a:ext cx="12193200" cy="6858000"/>
          </a:xfrm>
          <a:custGeom>
            <a:avLst/>
            <a:gdLst/>
            <a:ahLst/>
            <a:cxnLst/>
            <a:rect l="l" t="t" r="r" b="b"/>
            <a:pathLst>
              <a:path w="12193200" h="6858000" extrusionOk="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2745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94" name="Google Shape;294;p70"/>
          <p:cNvGrpSpPr/>
          <p:nvPr/>
        </p:nvGrpSpPr>
        <p:grpSpPr>
          <a:xfrm>
            <a:off x="-600" y="549275"/>
            <a:ext cx="12193201" cy="5759450"/>
            <a:chOff x="-600" y="549275"/>
            <a:chExt cx="12193201" cy="5759450"/>
          </a:xfrm>
        </p:grpSpPr>
        <p:cxnSp>
          <p:nvCxnSpPr>
            <p:cNvPr id="295" name="Google Shape;295;p70"/>
            <p:cNvCxnSpPr/>
            <p:nvPr/>
          </p:nvCxnSpPr>
          <p:spPr>
            <a:xfrm>
              <a:off x="-600" y="54927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6" name="Google Shape;296;p70"/>
            <p:cNvCxnSpPr/>
            <p:nvPr/>
          </p:nvCxnSpPr>
          <p:spPr>
            <a:xfrm>
              <a:off x="-600" y="107286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7" name="Google Shape;297;p70"/>
            <p:cNvCxnSpPr/>
            <p:nvPr/>
          </p:nvCxnSpPr>
          <p:spPr>
            <a:xfrm>
              <a:off x="-600" y="133465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8" name="Google Shape;298;p70"/>
            <p:cNvCxnSpPr/>
            <p:nvPr/>
          </p:nvCxnSpPr>
          <p:spPr>
            <a:xfrm>
              <a:off x="-600" y="159644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9" name="Google Shape;299;p70"/>
            <p:cNvCxnSpPr/>
            <p:nvPr/>
          </p:nvCxnSpPr>
          <p:spPr>
            <a:xfrm>
              <a:off x="-600" y="185824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0" name="Google Shape;300;p70"/>
            <p:cNvCxnSpPr/>
            <p:nvPr/>
          </p:nvCxnSpPr>
          <p:spPr>
            <a:xfrm>
              <a:off x="-600" y="212003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1" name="Google Shape;301;p70"/>
            <p:cNvCxnSpPr/>
            <p:nvPr/>
          </p:nvCxnSpPr>
          <p:spPr>
            <a:xfrm>
              <a:off x="-600" y="238182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2" name="Google Shape;302;p70"/>
            <p:cNvCxnSpPr/>
            <p:nvPr/>
          </p:nvCxnSpPr>
          <p:spPr>
            <a:xfrm>
              <a:off x="-600" y="264361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3" name="Google Shape;303;p70"/>
            <p:cNvCxnSpPr/>
            <p:nvPr/>
          </p:nvCxnSpPr>
          <p:spPr>
            <a:xfrm>
              <a:off x="-600" y="290541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4" name="Google Shape;304;p70"/>
            <p:cNvCxnSpPr/>
            <p:nvPr/>
          </p:nvCxnSpPr>
          <p:spPr>
            <a:xfrm>
              <a:off x="-600" y="316720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5" name="Google Shape;305;p70"/>
            <p:cNvCxnSpPr/>
            <p:nvPr/>
          </p:nvCxnSpPr>
          <p:spPr>
            <a:xfrm>
              <a:off x="-600" y="342899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6" name="Google Shape;306;p70"/>
            <p:cNvCxnSpPr/>
            <p:nvPr/>
          </p:nvCxnSpPr>
          <p:spPr>
            <a:xfrm>
              <a:off x="-600" y="369079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7" name="Google Shape;307;p70"/>
            <p:cNvCxnSpPr/>
            <p:nvPr/>
          </p:nvCxnSpPr>
          <p:spPr>
            <a:xfrm>
              <a:off x="-600" y="395258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8" name="Google Shape;308;p70"/>
            <p:cNvCxnSpPr/>
            <p:nvPr/>
          </p:nvCxnSpPr>
          <p:spPr>
            <a:xfrm>
              <a:off x="-600" y="421437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9" name="Google Shape;309;p70"/>
            <p:cNvCxnSpPr/>
            <p:nvPr/>
          </p:nvCxnSpPr>
          <p:spPr>
            <a:xfrm>
              <a:off x="-600" y="447617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0" name="Google Shape;310;p70"/>
            <p:cNvCxnSpPr/>
            <p:nvPr/>
          </p:nvCxnSpPr>
          <p:spPr>
            <a:xfrm>
              <a:off x="-600" y="473796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1" name="Google Shape;311;p70"/>
            <p:cNvCxnSpPr/>
            <p:nvPr/>
          </p:nvCxnSpPr>
          <p:spPr>
            <a:xfrm>
              <a:off x="-600" y="499975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2" name="Google Shape;312;p70"/>
            <p:cNvCxnSpPr/>
            <p:nvPr/>
          </p:nvCxnSpPr>
          <p:spPr>
            <a:xfrm>
              <a:off x="-600" y="526154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3" name="Google Shape;313;p70"/>
            <p:cNvCxnSpPr/>
            <p:nvPr/>
          </p:nvCxnSpPr>
          <p:spPr>
            <a:xfrm>
              <a:off x="-600" y="552334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" name="Google Shape;314;p70"/>
            <p:cNvCxnSpPr/>
            <p:nvPr/>
          </p:nvCxnSpPr>
          <p:spPr>
            <a:xfrm>
              <a:off x="-600" y="578513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5" name="Google Shape;315;p70"/>
            <p:cNvCxnSpPr/>
            <p:nvPr/>
          </p:nvCxnSpPr>
          <p:spPr>
            <a:xfrm>
              <a:off x="-600" y="81106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6" name="Google Shape;316;p70"/>
            <p:cNvCxnSpPr/>
            <p:nvPr/>
          </p:nvCxnSpPr>
          <p:spPr>
            <a:xfrm>
              <a:off x="-600" y="630872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7" name="Google Shape;317;p70"/>
            <p:cNvCxnSpPr/>
            <p:nvPr/>
          </p:nvCxnSpPr>
          <p:spPr>
            <a:xfrm>
              <a:off x="-600" y="604692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318" name="Google Shape;318;p70"/>
          <p:cNvSpPr/>
          <p:nvPr/>
        </p:nvSpPr>
        <p:spPr>
          <a:xfrm>
            <a:off x="550263" y="6308721"/>
            <a:ext cx="11090873" cy="261799"/>
          </a:xfrm>
          <a:prstGeom prst="rect">
            <a:avLst/>
          </a:prstGeom>
          <a:solidFill>
            <a:srgbClr val="FF0000">
              <a:alpha val="7843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319;p70"/>
          <p:cNvSpPr/>
          <p:nvPr/>
        </p:nvSpPr>
        <p:spPr>
          <a:xfrm>
            <a:off x="550864" y="1348221"/>
            <a:ext cx="11105556" cy="509202"/>
          </a:xfrm>
          <a:prstGeom prst="rect">
            <a:avLst/>
          </a:prstGeom>
          <a:solidFill>
            <a:srgbClr val="FF0000">
              <a:alpha val="2745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0" name="Google Shape;320;p70"/>
          <p:cNvSpPr/>
          <p:nvPr/>
        </p:nvSpPr>
        <p:spPr>
          <a:xfrm>
            <a:off x="550863" y="2120033"/>
            <a:ext cx="11090275" cy="4188692"/>
          </a:xfrm>
          <a:custGeom>
            <a:avLst/>
            <a:gdLst/>
            <a:ahLst/>
            <a:cxnLst/>
            <a:rect l="l" t="t" r="r" b="b"/>
            <a:pathLst>
              <a:path w="10931999" h="5537797" extrusionOk="0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 cap="flat" cmpd="sng">
            <a:solidFill>
              <a:schemeClr val="dk2">
                <a:alpha val="32941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21" name="Google Shape;321;p70"/>
          <p:cNvGrpSpPr/>
          <p:nvPr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</p:grpSpPr>
        <p:sp>
          <p:nvSpPr>
            <p:cNvPr id="322" name="Google Shape;322;p70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323;p70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324;p70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325;p70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326;p70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327;p70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328;p70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329;p70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330;p70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331;p70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332;p70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3" name="Google Shape;333;p70"/>
          <p:cNvSpPr txBox="1"/>
          <p:nvPr/>
        </p:nvSpPr>
        <p:spPr>
          <a:xfrm>
            <a:off x="550862" y="6309543"/>
            <a:ext cx="9030915" cy="277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4" name="Google Shape;334;p70"/>
          <p:cNvSpPr txBox="1">
            <a:spLocks noGrp="1"/>
          </p:cNvSpPr>
          <p:nvPr>
            <p:ph type="sldNum" idx="12"/>
          </p:nvPr>
        </p:nvSpPr>
        <p:spPr>
          <a:xfrm>
            <a:off x="11490153" y="6450225"/>
            <a:ext cx="150682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5" name="Google Shape;335;p7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6" name="Google Shape;336;p70"/>
          <p:cNvGrpSpPr/>
          <p:nvPr/>
        </p:nvGrpSpPr>
        <p:grpSpPr>
          <a:xfrm>
            <a:off x="550864" y="6156603"/>
            <a:ext cx="11089971" cy="55199"/>
            <a:chOff x="550864" y="6156603"/>
            <a:chExt cx="11089971" cy="55199"/>
          </a:xfrm>
        </p:grpSpPr>
        <p:sp>
          <p:nvSpPr>
            <p:cNvPr id="337" name="Google Shape;337;p70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338;p70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339;p70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340;p70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341;p70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44412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Full-width Page">
  <p:cSld name="5_Full-width Page"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24D858-CB9E-F526-1279-D7270A150F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1305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24D858-CB9E-F526-1279-D7270A150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3" name="Google Shape;343;p7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" y="0"/>
            <a:ext cx="349249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44" name="Google Shape;344;p71"/>
          <p:cNvSpPr/>
          <p:nvPr/>
        </p:nvSpPr>
        <p:spPr>
          <a:xfrm>
            <a:off x="0" y="-1"/>
            <a:ext cx="3492497" cy="6857999"/>
          </a:xfrm>
          <a:prstGeom prst="rect">
            <a:avLst/>
          </a:prstGeom>
          <a:gradFill>
            <a:gsLst>
              <a:gs pos="0">
                <a:schemeClr val="dk2"/>
              </a:gs>
              <a:gs pos="76000">
                <a:srgbClr val="4873F5">
                  <a:alpha val="82745"/>
                </a:srgbClr>
              </a:gs>
              <a:gs pos="100000">
                <a:srgbClr val="00B9FF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" name="Google Shape;345;p71"/>
          <p:cNvSpPr txBox="1">
            <a:spLocks noGrp="1"/>
          </p:cNvSpPr>
          <p:nvPr>
            <p:ph type="title"/>
          </p:nvPr>
        </p:nvSpPr>
        <p:spPr>
          <a:xfrm>
            <a:off x="550863" y="549275"/>
            <a:ext cx="2941634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46" name="Google Shape;346;p71"/>
          <p:cNvCxnSpPr>
            <a:cxnSpLocks/>
          </p:cNvCxnSpPr>
          <p:nvPr/>
        </p:nvCxnSpPr>
        <p:spPr>
          <a:xfrm>
            <a:off x="537325" y="499953"/>
            <a:ext cx="525362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9455442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only (with background)">
  <p:cSld name="2_Title only (with background)">
    <p:bg>
      <p:bgPr>
        <a:solidFill>
          <a:schemeClr val="lt2"/>
        </a:solidFill>
        <a:effectLst/>
      </p:bgPr>
    </p:bg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7" name="Google Shape;707;p83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488916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" name="Google Shape;708;p8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709" name="Google Shape;709;p83"/>
          <p:cNvGrpSpPr/>
          <p:nvPr/>
        </p:nvGrpSpPr>
        <p:grpSpPr>
          <a:xfrm>
            <a:off x="11979441" y="4535495"/>
            <a:ext cx="110800" cy="2041948"/>
            <a:chOff x="11979441" y="4535495"/>
            <a:chExt cx="110800" cy="2041948"/>
          </a:xfrm>
        </p:grpSpPr>
        <p:grpSp>
          <p:nvGrpSpPr>
            <p:cNvPr id="710" name="Google Shape;710;p83"/>
            <p:cNvGrpSpPr/>
            <p:nvPr/>
          </p:nvGrpSpPr>
          <p:grpSpPr>
            <a:xfrm>
              <a:off x="11998460" y="6135518"/>
              <a:ext cx="68500" cy="441925"/>
              <a:chOff x="11998459" y="6162188"/>
              <a:chExt cx="68500" cy="441925"/>
            </a:xfrm>
          </p:grpSpPr>
          <p:sp>
            <p:nvSpPr>
              <p:cNvPr id="711" name="Google Shape;711;p83"/>
              <p:cNvSpPr/>
              <p:nvPr/>
            </p:nvSpPr>
            <p:spPr>
              <a:xfrm rot="-5400000">
                <a:off x="12063068" y="6476346"/>
                <a:ext cx="17" cy="1717"/>
              </a:xfrm>
              <a:custGeom>
                <a:avLst/>
                <a:gdLst/>
                <a:ahLst/>
                <a:cxnLst/>
                <a:rect l="l" t="t" r="r" b="b"/>
                <a:pathLst>
                  <a:path w="17" h="1717" extrusionOk="0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2" name="Google Shape;712;p83"/>
              <p:cNvSpPr/>
              <p:nvPr/>
            </p:nvSpPr>
            <p:spPr>
              <a:xfrm rot="-5400000">
                <a:off x="12023737" y="6455896"/>
                <a:ext cx="453" cy="271"/>
              </a:xfrm>
              <a:custGeom>
                <a:avLst/>
                <a:gdLst/>
                <a:ahLst/>
                <a:cxnLst/>
                <a:rect l="l" t="t" r="r" b="b"/>
                <a:pathLst>
                  <a:path w="453" h="271" extrusionOk="0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3" name="Google Shape;713;p83"/>
              <p:cNvSpPr/>
              <p:nvPr/>
            </p:nvSpPr>
            <p:spPr>
              <a:xfrm rot="-5400000">
                <a:off x="12023907" y="6477766"/>
                <a:ext cx="15" cy="76"/>
              </a:xfrm>
              <a:custGeom>
                <a:avLst/>
                <a:gdLst/>
                <a:ahLst/>
                <a:cxnLst/>
                <a:rect l="l" t="t" r="r" b="b"/>
                <a:pathLst>
                  <a:path w="15" h="76" extrusionOk="0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4" name="Google Shape;714;p83"/>
              <p:cNvSpPr/>
              <p:nvPr/>
            </p:nvSpPr>
            <p:spPr>
              <a:xfrm rot="-5400000">
                <a:off x="12021636" y="6473651"/>
                <a:ext cx="261" cy="103"/>
              </a:xfrm>
              <a:custGeom>
                <a:avLst/>
                <a:gdLst/>
                <a:ahLst/>
                <a:cxnLst/>
                <a:rect l="l" t="t" r="r" b="b"/>
                <a:pathLst>
                  <a:path w="261" h="103" extrusionOk="0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" name="Google Shape;715;p83"/>
              <p:cNvSpPr/>
              <p:nvPr/>
            </p:nvSpPr>
            <p:spPr>
              <a:xfrm rot="-5400000">
                <a:off x="12015635" y="6442208"/>
                <a:ext cx="51323" cy="51323"/>
              </a:xfrm>
              <a:custGeom>
                <a:avLst/>
                <a:gdLst/>
                <a:ahLst/>
                <a:cxnLst/>
                <a:rect l="l" t="t" r="r" b="b"/>
                <a:pathLst>
                  <a:path w="51323" h="51323" extrusionOk="0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6" name="Google Shape;716;p83"/>
              <p:cNvSpPr/>
              <p:nvPr/>
            </p:nvSpPr>
            <p:spPr>
              <a:xfrm rot="-5400000">
                <a:off x="12026199" y="6563439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7" name="Google Shape;717;p83"/>
              <p:cNvSpPr/>
              <p:nvPr/>
            </p:nvSpPr>
            <p:spPr>
              <a:xfrm rot="-5400000">
                <a:off x="12018640" y="6529825"/>
                <a:ext cx="45208" cy="51256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6" extrusionOk="0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8" name="Google Shape;718;p83"/>
              <p:cNvSpPr/>
              <p:nvPr/>
            </p:nvSpPr>
            <p:spPr>
              <a:xfrm rot="-5400000">
                <a:off x="12018195" y="6477145"/>
                <a:ext cx="28942" cy="68414"/>
              </a:xfrm>
              <a:custGeom>
                <a:avLst/>
                <a:gdLst/>
                <a:ahLst/>
                <a:cxnLst/>
                <a:rect l="l" t="t" r="r" b="b"/>
                <a:pathLst>
                  <a:path w="28942" h="68414" extrusionOk="0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9" name="Google Shape;719;p83"/>
              <p:cNvSpPr/>
              <p:nvPr/>
            </p:nvSpPr>
            <p:spPr>
              <a:xfrm rot="-5400000">
                <a:off x="12016830" y="6161182"/>
                <a:ext cx="49036" cy="51048"/>
              </a:xfrm>
              <a:custGeom>
                <a:avLst/>
                <a:gdLst/>
                <a:ahLst/>
                <a:cxnLst/>
                <a:rect l="l" t="t" r="r" b="b"/>
                <a:pathLst>
                  <a:path w="49036" h="51048" extrusionOk="0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0" name="Google Shape;720;p83"/>
              <p:cNvSpPr/>
              <p:nvPr/>
            </p:nvSpPr>
            <p:spPr>
              <a:xfrm rot="-5400000">
                <a:off x="12005374" y="6370523"/>
                <a:ext cx="71791" cy="51205"/>
              </a:xfrm>
              <a:custGeom>
                <a:avLst/>
                <a:gdLst/>
                <a:ahLst/>
                <a:cxnLst/>
                <a:rect l="l" t="t" r="r" b="b"/>
                <a:pathLst>
                  <a:path w="71791" h="51205" extrusionOk="0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1" name="Google Shape;721;p83"/>
              <p:cNvSpPr/>
              <p:nvPr/>
            </p:nvSpPr>
            <p:spPr>
              <a:xfrm rot="-5400000">
                <a:off x="12026199" y="6307354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2" name="Google Shape;722;p83"/>
              <p:cNvSpPr/>
              <p:nvPr/>
            </p:nvSpPr>
            <p:spPr>
              <a:xfrm rot="-5400000">
                <a:off x="12018641" y="6273739"/>
                <a:ext cx="45208" cy="51255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5" extrusionOk="0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3" name="Google Shape;723;p83"/>
              <p:cNvSpPr/>
              <p:nvPr/>
            </p:nvSpPr>
            <p:spPr>
              <a:xfrm rot="-5400000">
                <a:off x="12017163" y="6218687"/>
                <a:ext cx="48082" cy="51510"/>
              </a:xfrm>
              <a:custGeom>
                <a:avLst/>
                <a:gdLst/>
                <a:ahLst/>
                <a:cxnLst/>
                <a:rect l="l" t="t" r="r" b="b"/>
                <a:pathLst>
                  <a:path w="48082" h="51510" extrusionOk="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pic>
          <p:nvPicPr>
            <p:cNvPr id="724" name="Google Shape;724;p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rot="-5400000">
              <a:off x="11811888" y="6322371"/>
              <a:ext cx="441438" cy="6870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25" name="Google Shape;725;p83"/>
            <p:cNvSpPr txBox="1"/>
            <p:nvPr/>
          </p:nvSpPr>
          <p:spPr>
            <a:xfrm rot="-5400000">
              <a:off x="11250972" y="5263963"/>
              <a:ext cx="1567737" cy="110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0. All rights reserved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26" name="Google Shape;726;p83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944225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Right">
  <p:cSld name="1/2 Blue on Right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48"/>
          <p:cNvSpPr/>
          <p:nvPr/>
        </p:nvSpPr>
        <p:spPr>
          <a:xfrm>
            <a:off x="6096000" y="-1"/>
            <a:ext cx="6098539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" name="Google Shape;66;p48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52050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48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" name="Google Shape;68;p48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9" name="Google Shape;69;p4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70" name="Google Shape;70;p4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71;p4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72;p4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73;p4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74;p4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75;p4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76;p4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77;p4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78;p4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79;p4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80;p4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81;p4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82;p4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" name="Google Shape;83;p4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Google Shape;84;p4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22035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046768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47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2" name="Google Shape;42;p47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702121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>
  <p:cSld name="Breaker Slide_1">
    <p:bg>
      <p:bgPr>
        <a:solidFill>
          <a:schemeClr val="lt2"/>
        </a:solidFill>
        <a:effectLst/>
      </p:bgPr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oogle Shape;44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Google Shape;45;p68"/>
          <p:cNvSpPr/>
          <p:nvPr/>
        </p:nvSpPr>
        <p:spPr>
          <a:xfrm>
            <a:off x="0" y="0"/>
            <a:ext cx="2682587" cy="6858000"/>
          </a:xfrm>
          <a:prstGeom prst="rect">
            <a:avLst/>
          </a:prstGeom>
          <a:solidFill>
            <a:schemeClr val="lt2">
              <a:alpha val="6784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" name="Google Shape;46;p68"/>
          <p:cNvSpPr/>
          <p:nvPr/>
        </p:nvSpPr>
        <p:spPr>
          <a:xfrm>
            <a:off x="0" y="3700463"/>
            <a:ext cx="9412014" cy="2414587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7843"/>
                </a:srgbClr>
              </a:gs>
              <a:gs pos="100000">
                <a:srgbClr val="43E1D3">
                  <a:alpha val="87843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47;p68"/>
          <p:cNvSpPr txBox="1">
            <a:spLocks noGrp="1"/>
          </p:cNvSpPr>
          <p:nvPr>
            <p:ph type="title"/>
          </p:nvPr>
        </p:nvSpPr>
        <p:spPr>
          <a:xfrm>
            <a:off x="737591" y="4108436"/>
            <a:ext cx="8494899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843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" name="Google Shape;48;p6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49" name="Google Shape;49;p6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6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51;p6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6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6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6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6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6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6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6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6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6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6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2" name="Google Shape;62;p6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6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77136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Right">
  <p:cSld name="1/2 Blue on Right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48"/>
          <p:cNvSpPr/>
          <p:nvPr/>
        </p:nvSpPr>
        <p:spPr>
          <a:xfrm>
            <a:off x="6096000" y="-1"/>
            <a:ext cx="6098539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" name="Google Shape;66;p48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52050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48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" name="Google Shape;68;p48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9" name="Google Shape;69;p4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70" name="Google Shape;70;p4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71;p4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72;p4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73;p4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74;p4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75;p4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76;p4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77;p4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78;p4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79;p4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80;p4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81;p4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82;p4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" name="Google Shape;83;p4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Google Shape;84;p4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22035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907499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 (with background)">
  <p:cSld name="1_Title only (with background)">
    <p:bg>
      <p:bgPr>
        <a:solidFill>
          <a:schemeClr val="lt2"/>
        </a:solidFill>
        <a:effectLst/>
      </p:bgPr>
    </p:bg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5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5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6" name="Google Shape;146;p5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50"/>
          <p:cNvSpPr txBox="1">
            <a:spLocks noGrp="1"/>
          </p:cNvSpPr>
          <p:nvPr>
            <p:ph type="body" idx="1"/>
          </p:nvPr>
        </p:nvSpPr>
        <p:spPr>
          <a:xfrm>
            <a:off x="550862" y="1028324"/>
            <a:ext cx="11089972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6D90F8"/>
              </a:buClr>
              <a:buSzPts val="2000"/>
              <a:buNone/>
              <a:defRPr sz="2000">
                <a:solidFill>
                  <a:srgbClr val="6D90F8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489751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(with background)">
  <p:cSld name="Title only (with background)">
    <p:bg>
      <p:bgPr>
        <a:solidFill>
          <a:schemeClr val="lt2"/>
        </a:solidFill>
        <a:effectLst/>
      </p:bgPr>
    </p:bg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4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4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1" name="Google Shape;91;p49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683650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 (with background)">
  <p:cSld name="1_Title only (with background)">
    <p:bg>
      <p:bgPr>
        <a:solidFill>
          <a:schemeClr val="lt2"/>
        </a:solidFill>
        <a:effectLst/>
      </p:bgPr>
    </p:bg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5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5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6" name="Google Shape;146;p5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50"/>
          <p:cNvSpPr txBox="1">
            <a:spLocks noGrp="1"/>
          </p:cNvSpPr>
          <p:nvPr>
            <p:ph type="body" idx="1"/>
          </p:nvPr>
        </p:nvSpPr>
        <p:spPr>
          <a:xfrm>
            <a:off x="550862" y="1028324"/>
            <a:ext cx="11089972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6D90F8"/>
              </a:buClr>
              <a:buSzPts val="2000"/>
              <a:buNone/>
              <a:defRPr sz="2000">
                <a:solidFill>
                  <a:srgbClr val="6D90F8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468979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Without Title">
  <p:cSld name="Without Title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5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50" name="Google Shape;150;p5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51" name="Google Shape;151;p5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152;p5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153;p5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154;p5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5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156;p5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157;p5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158;p5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159;p5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160;p5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5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162;p5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163;p5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64" name="Google Shape;164;p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165" name="Google Shape;165;p5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6" name="Google Shape;166;p5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1939646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2 Column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5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5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0" name="Google Shape;170;p59"/>
          <p:cNvSpPr txBox="1">
            <a:spLocks noGrp="1"/>
          </p:cNvSpPr>
          <p:nvPr>
            <p:ph type="body" idx="1"/>
          </p:nvPr>
        </p:nvSpPr>
        <p:spPr>
          <a:xfrm>
            <a:off x="550863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59"/>
          <p:cNvSpPr txBox="1">
            <a:spLocks noGrp="1"/>
          </p:cNvSpPr>
          <p:nvPr>
            <p:ph type="body" idx="2"/>
          </p:nvPr>
        </p:nvSpPr>
        <p:spPr>
          <a:xfrm>
            <a:off x="550863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" name="Google Shape;172;p59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" name="Google Shape;173;p59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59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9802155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6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6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" name="Google Shape;178;p60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35069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60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35069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60"/>
          <p:cNvSpPr txBox="1">
            <a:spLocks noGrp="1"/>
          </p:cNvSpPr>
          <p:nvPr>
            <p:ph type="body" idx="3"/>
          </p:nvPr>
        </p:nvSpPr>
        <p:spPr>
          <a:xfrm>
            <a:off x="8135839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60"/>
          <p:cNvSpPr txBox="1">
            <a:spLocks noGrp="1"/>
          </p:cNvSpPr>
          <p:nvPr>
            <p:ph type="body" idx="4"/>
          </p:nvPr>
        </p:nvSpPr>
        <p:spPr>
          <a:xfrm>
            <a:off x="8135839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60"/>
          <p:cNvSpPr txBox="1">
            <a:spLocks noGrp="1"/>
          </p:cNvSpPr>
          <p:nvPr>
            <p:ph type="body" idx="5"/>
          </p:nvPr>
        </p:nvSpPr>
        <p:spPr>
          <a:xfrm>
            <a:off x="4344162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60"/>
          <p:cNvSpPr txBox="1">
            <a:spLocks noGrp="1"/>
          </p:cNvSpPr>
          <p:nvPr>
            <p:ph type="body" idx="6"/>
          </p:nvPr>
        </p:nvSpPr>
        <p:spPr>
          <a:xfrm>
            <a:off x="4344162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6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209720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">
  <p:cSld name="5 Column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62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p6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8" name="Google Shape;188;p62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62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" name="Google Shape;190;p62"/>
          <p:cNvSpPr txBox="1">
            <a:spLocks noGrp="1"/>
          </p:cNvSpPr>
          <p:nvPr>
            <p:ph type="body" idx="3"/>
          </p:nvPr>
        </p:nvSpPr>
        <p:spPr>
          <a:xfrm>
            <a:off x="5104050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" name="Google Shape;191;p62"/>
          <p:cNvSpPr txBox="1">
            <a:spLocks noGrp="1"/>
          </p:cNvSpPr>
          <p:nvPr>
            <p:ph type="body" idx="4"/>
          </p:nvPr>
        </p:nvSpPr>
        <p:spPr>
          <a:xfrm>
            <a:off x="5104050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62"/>
          <p:cNvSpPr txBox="1">
            <a:spLocks noGrp="1"/>
          </p:cNvSpPr>
          <p:nvPr>
            <p:ph type="body" idx="5"/>
          </p:nvPr>
        </p:nvSpPr>
        <p:spPr>
          <a:xfrm>
            <a:off x="2827457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" name="Google Shape;193;p62"/>
          <p:cNvSpPr txBox="1">
            <a:spLocks noGrp="1"/>
          </p:cNvSpPr>
          <p:nvPr>
            <p:ph type="body" idx="6"/>
          </p:nvPr>
        </p:nvSpPr>
        <p:spPr>
          <a:xfrm>
            <a:off x="2827457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62"/>
          <p:cNvSpPr txBox="1">
            <a:spLocks noGrp="1"/>
          </p:cNvSpPr>
          <p:nvPr>
            <p:ph type="body" idx="7"/>
          </p:nvPr>
        </p:nvSpPr>
        <p:spPr>
          <a:xfrm>
            <a:off x="7380643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" name="Google Shape;195;p62"/>
          <p:cNvSpPr txBox="1">
            <a:spLocks noGrp="1"/>
          </p:cNvSpPr>
          <p:nvPr>
            <p:ph type="body" idx="8"/>
          </p:nvPr>
        </p:nvSpPr>
        <p:spPr>
          <a:xfrm>
            <a:off x="7380643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" name="Google Shape;196;p62"/>
          <p:cNvSpPr txBox="1">
            <a:spLocks noGrp="1"/>
          </p:cNvSpPr>
          <p:nvPr>
            <p:ph type="body" idx="9"/>
          </p:nvPr>
        </p:nvSpPr>
        <p:spPr>
          <a:xfrm>
            <a:off x="9660801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62"/>
          <p:cNvSpPr txBox="1">
            <a:spLocks noGrp="1"/>
          </p:cNvSpPr>
          <p:nvPr>
            <p:ph type="body" idx="13"/>
          </p:nvPr>
        </p:nvSpPr>
        <p:spPr>
          <a:xfrm>
            <a:off x="9660801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" name="Google Shape;198;p62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808023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_2">
  <p:cSld name="1/3 Blue on Left_2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63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784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" name="Google Shape;201;p63"/>
          <p:cNvSpPr txBox="1">
            <a:spLocks noGrp="1"/>
          </p:cNvSpPr>
          <p:nvPr>
            <p:ph type="title"/>
          </p:nvPr>
        </p:nvSpPr>
        <p:spPr>
          <a:xfrm>
            <a:off x="566141" y="2546064"/>
            <a:ext cx="3032465" cy="1765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  <a:defRPr sz="45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" name="Google Shape;202;p6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3" name="Google Shape;203;p63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5302226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Left">
  <p:cSld name="1/2 Blue on Left"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64"/>
          <p:cNvSpPr/>
          <p:nvPr/>
        </p:nvSpPr>
        <p:spPr>
          <a:xfrm>
            <a:off x="0" y="-1"/>
            <a:ext cx="6098537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784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" name="Google Shape;206;p64"/>
          <p:cNvSpPr txBox="1">
            <a:spLocks noGrp="1"/>
          </p:cNvSpPr>
          <p:nvPr>
            <p:ph type="title"/>
          </p:nvPr>
        </p:nvSpPr>
        <p:spPr>
          <a:xfrm>
            <a:off x="539400" y="562840"/>
            <a:ext cx="5074328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p6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8" name="Google Shape;208;p64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9" name="Google Shape;209;p64"/>
          <p:cNvSpPr txBox="1">
            <a:spLocks noGrp="1"/>
          </p:cNvSpPr>
          <p:nvPr>
            <p:ph type="ftr" idx="11"/>
          </p:nvPr>
        </p:nvSpPr>
        <p:spPr>
          <a:xfrm>
            <a:off x="549232" y="6465614"/>
            <a:ext cx="507432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259538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 BG (with Title)">
  <p:cSld name="Gradient BG (with Title)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6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p6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13" name="Google Shape;213;p6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14" name="Google Shape;214;p6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15" name="Google Shape;215;p6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16;p6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17;p6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18;p6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219;p6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0;p6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1;p6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2;p6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3;p6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4;p6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5;p6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6;p6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;p6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8" name="Google Shape;228;p6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9" name="Google Shape;229;p6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0" name="Google Shape;230;p6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409508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Gradient BG (with Title)">
  <p:cSld name="1_Gradient BG (with Title)"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6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33" name="Google Shape;233;p66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34" name="Google Shape;234;p66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Google Shape;235;p66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36;p66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237;p66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66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39;p66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40;p66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41;p66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42;p66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43;p66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44;p66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45;p66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66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7" name="Google Shape;247;p66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8" name="Google Shape;248;p6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9" name="Google Shape;249;p66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231426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Without Title">
  <p:cSld name="Without Title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5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50" name="Google Shape;150;p5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51" name="Google Shape;151;p5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152;p5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153;p5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154;p5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5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156;p5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157;p5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158;p5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159;p5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160;p5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5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162;p5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163;p5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64" name="Google Shape;164;p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165" name="Google Shape;165;p5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6" name="Google Shape;166;p5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325979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Right">
  <p:cSld name="1/3 Blue on Right"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67"/>
          <p:cNvSpPr/>
          <p:nvPr/>
        </p:nvSpPr>
        <p:spPr>
          <a:xfrm>
            <a:off x="8134763" y="-1"/>
            <a:ext cx="4059776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" name="Google Shape;252;p67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726112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3" name="Google Shape;253;p67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4" name="Google Shape;254;p67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5" name="Google Shape;255;p67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56" name="Google Shape;256;p67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67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67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67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67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67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67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67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67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67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67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67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67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9" name="Google Shape;269;p67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Google Shape;270;p67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72764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456597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Breaker Slide_2">
    <p:bg>
      <p:bgPr>
        <a:solidFill>
          <a:schemeClr val="lt2"/>
        </a:solidFill>
        <a:effectLst/>
      </p:bgPr>
    </p:bg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2" name="Google Shape;27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3" name="Google Shape;273;p6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7843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4" name="Google Shape;274;p69"/>
          <p:cNvSpPr txBox="1"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843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5" name="Google Shape;275;p69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76" name="Google Shape;276;p69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69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69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69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69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69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69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69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69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69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69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69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69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9" name="Google Shape;289;p69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0" name="Google Shape;290;p6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1" name="Google Shape;291;p69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01430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70"/>
          <p:cNvSpPr/>
          <p:nvPr/>
        </p:nvSpPr>
        <p:spPr>
          <a:xfrm>
            <a:off x="0" y="0"/>
            <a:ext cx="12193200" cy="6858000"/>
          </a:xfrm>
          <a:custGeom>
            <a:avLst/>
            <a:gdLst/>
            <a:ahLst/>
            <a:cxnLst/>
            <a:rect l="l" t="t" r="r" b="b"/>
            <a:pathLst>
              <a:path w="12193200" h="6858000" extrusionOk="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2745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94" name="Google Shape;294;p70"/>
          <p:cNvGrpSpPr/>
          <p:nvPr/>
        </p:nvGrpSpPr>
        <p:grpSpPr>
          <a:xfrm>
            <a:off x="-600" y="549275"/>
            <a:ext cx="12193201" cy="5759450"/>
            <a:chOff x="-600" y="549275"/>
            <a:chExt cx="12193201" cy="5759450"/>
          </a:xfrm>
        </p:grpSpPr>
        <p:cxnSp>
          <p:nvCxnSpPr>
            <p:cNvPr id="295" name="Google Shape;295;p70"/>
            <p:cNvCxnSpPr/>
            <p:nvPr/>
          </p:nvCxnSpPr>
          <p:spPr>
            <a:xfrm>
              <a:off x="-600" y="54927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6" name="Google Shape;296;p70"/>
            <p:cNvCxnSpPr/>
            <p:nvPr/>
          </p:nvCxnSpPr>
          <p:spPr>
            <a:xfrm>
              <a:off x="-600" y="107286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7" name="Google Shape;297;p70"/>
            <p:cNvCxnSpPr/>
            <p:nvPr/>
          </p:nvCxnSpPr>
          <p:spPr>
            <a:xfrm>
              <a:off x="-600" y="133465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8" name="Google Shape;298;p70"/>
            <p:cNvCxnSpPr/>
            <p:nvPr/>
          </p:nvCxnSpPr>
          <p:spPr>
            <a:xfrm>
              <a:off x="-600" y="159644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9" name="Google Shape;299;p70"/>
            <p:cNvCxnSpPr/>
            <p:nvPr/>
          </p:nvCxnSpPr>
          <p:spPr>
            <a:xfrm>
              <a:off x="-600" y="185824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0" name="Google Shape;300;p70"/>
            <p:cNvCxnSpPr/>
            <p:nvPr/>
          </p:nvCxnSpPr>
          <p:spPr>
            <a:xfrm>
              <a:off x="-600" y="212003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1" name="Google Shape;301;p70"/>
            <p:cNvCxnSpPr/>
            <p:nvPr/>
          </p:nvCxnSpPr>
          <p:spPr>
            <a:xfrm>
              <a:off x="-600" y="238182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2" name="Google Shape;302;p70"/>
            <p:cNvCxnSpPr/>
            <p:nvPr/>
          </p:nvCxnSpPr>
          <p:spPr>
            <a:xfrm>
              <a:off x="-600" y="264361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3" name="Google Shape;303;p70"/>
            <p:cNvCxnSpPr/>
            <p:nvPr/>
          </p:nvCxnSpPr>
          <p:spPr>
            <a:xfrm>
              <a:off x="-600" y="290541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4" name="Google Shape;304;p70"/>
            <p:cNvCxnSpPr/>
            <p:nvPr/>
          </p:nvCxnSpPr>
          <p:spPr>
            <a:xfrm>
              <a:off x="-600" y="316720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5" name="Google Shape;305;p70"/>
            <p:cNvCxnSpPr/>
            <p:nvPr/>
          </p:nvCxnSpPr>
          <p:spPr>
            <a:xfrm>
              <a:off x="-600" y="342899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6" name="Google Shape;306;p70"/>
            <p:cNvCxnSpPr/>
            <p:nvPr/>
          </p:nvCxnSpPr>
          <p:spPr>
            <a:xfrm>
              <a:off x="-600" y="369079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7" name="Google Shape;307;p70"/>
            <p:cNvCxnSpPr/>
            <p:nvPr/>
          </p:nvCxnSpPr>
          <p:spPr>
            <a:xfrm>
              <a:off x="-600" y="395258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8" name="Google Shape;308;p70"/>
            <p:cNvCxnSpPr/>
            <p:nvPr/>
          </p:nvCxnSpPr>
          <p:spPr>
            <a:xfrm>
              <a:off x="-600" y="421437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9" name="Google Shape;309;p70"/>
            <p:cNvCxnSpPr/>
            <p:nvPr/>
          </p:nvCxnSpPr>
          <p:spPr>
            <a:xfrm>
              <a:off x="-600" y="447617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0" name="Google Shape;310;p70"/>
            <p:cNvCxnSpPr/>
            <p:nvPr/>
          </p:nvCxnSpPr>
          <p:spPr>
            <a:xfrm>
              <a:off x="-600" y="473796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1" name="Google Shape;311;p70"/>
            <p:cNvCxnSpPr/>
            <p:nvPr/>
          </p:nvCxnSpPr>
          <p:spPr>
            <a:xfrm>
              <a:off x="-600" y="499975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2" name="Google Shape;312;p70"/>
            <p:cNvCxnSpPr/>
            <p:nvPr/>
          </p:nvCxnSpPr>
          <p:spPr>
            <a:xfrm>
              <a:off x="-600" y="526154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3" name="Google Shape;313;p70"/>
            <p:cNvCxnSpPr/>
            <p:nvPr/>
          </p:nvCxnSpPr>
          <p:spPr>
            <a:xfrm>
              <a:off x="-600" y="552334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" name="Google Shape;314;p70"/>
            <p:cNvCxnSpPr/>
            <p:nvPr/>
          </p:nvCxnSpPr>
          <p:spPr>
            <a:xfrm>
              <a:off x="-600" y="578513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5" name="Google Shape;315;p70"/>
            <p:cNvCxnSpPr/>
            <p:nvPr/>
          </p:nvCxnSpPr>
          <p:spPr>
            <a:xfrm>
              <a:off x="-600" y="81106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6" name="Google Shape;316;p70"/>
            <p:cNvCxnSpPr/>
            <p:nvPr/>
          </p:nvCxnSpPr>
          <p:spPr>
            <a:xfrm>
              <a:off x="-600" y="630872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7" name="Google Shape;317;p70"/>
            <p:cNvCxnSpPr/>
            <p:nvPr/>
          </p:nvCxnSpPr>
          <p:spPr>
            <a:xfrm>
              <a:off x="-600" y="604692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318" name="Google Shape;318;p70"/>
          <p:cNvSpPr/>
          <p:nvPr/>
        </p:nvSpPr>
        <p:spPr>
          <a:xfrm>
            <a:off x="550263" y="6308721"/>
            <a:ext cx="11090873" cy="261799"/>
          </a:xfrm>
          <a:prstGeom prst="rect">
            <a:avLst/>
          </a:prstGeom>
          <a:solidFill>
            <a:srgbClr val="FF0000">
              <a:alpha val="7843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319;p70"/>
          <p:cNvSpPr/>
          <p:nvPr/>
        </p:nvSpPr>
        <p:spPr>
          <a:xfrm>
            <a:off x="550864" y="1348221"/>
            <a:ext cx="11105556" cy="509202"/>
          </a:xfrm>
          <a:prstGeom prst="rect">
            <a:avLst/>
          </a:prstGeom>
          <a:solidFill>
            <a:srgbClr val="FF0000">
              <a:alpha val="2745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0" name="Google Shape;320;p70"/>
          <p:cNvSpPr/>
          <p:nvPr/>
        </p:nvSpPr>
        <p:spPr>
          <a:xfrm>
            <a:off x="550863" y="2120033"/>
            <a:ext cx="11090275" cy="4188692"/>
          </a:xfrm>
          <a:custGeom>
            <a:avLst/>
            <a:gdLst/>
            <a:ahLst/>
            <a:cxnLst/>
            <a:rect l="l" t="t" r="r" b="b"/>
            <a:pathLst>
              <a:path w="10931999" h="5537797" extrusionOk="0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 cap="flat" cmpd="sng">
            <a:solidFill>
              <a:schemeClr val="dk2">
                <a:alpha val="32941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21" name="Google Shape;321;p70"/>
          <p:cNvGrpSpPr/>
          <p:nvPr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</p:grpSpPr>
        <p:sp>
          <p:nvSpPr>
            <p:cNvPr id="322" name="Google Shape;322;p70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323;p70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324;p70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325;p70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326;p70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327;p70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328;p70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329;p70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330;p70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331;p70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332;p70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3" name="Google Shape;333;p70"/>
          <p:cNvSpPr txBox="1"/>
          <p:nvPr/>
        </p:nvSpPr>
        <p:spPr>
          <a:xfrm>
            <a:off x="550862" y="6309543"/>
            <a:ext cx="9030915" cy="277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4" name="Google Shape;334;p70"/>
          <p:cNvSpPr txBox="1">
            <a:spLocks noGrp="1"/>
          </p:cNvSpPr>
          <p:nvPr>
            <p:ph type="sldNum" idx="12"/>
          </p:nvPr>
        </p:nvSpPr>
        <p:spPr>
          <a:xfrm>
            <a:off x="11490153" y="6450225"/>
            <a:ext cx="150682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5" name="Google Shape;335;p7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6" name="Google Shape;336;p70"/>
          <p:cNvGrpSpPr/>
          <p:nvPr/>
        </p:nvGrpSpPr>
        <p:grpSpPr>
          <a:xfrm>
            <a:off x="550864" y="6156603"/>
            <a:ext cx="11089971" cy="55199"/>
            <a:chOff x="550864" y="6156603"/>
            <a:chExt cx="11089971" cy="55199"/>
          </a:xfrm>
        </p:grpSpPr>
        <p:sp>
          <p:nvSpPr>
            <p:cNvPr id="337" name="Google Shape;337;p70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338;p70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339;p70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340;p70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341;p70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31586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Full-width Page">
  <p:cSld name="5_Full-width Page"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3" name="Google Shape;343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" y="0"/>
            <a:ext cx="349249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44" name="Google Shape;344;p71"/>
          <p:cNvSpPr/>
          <p:nvPr/>
        </p:nvSpPr>
        <p:spPr>
          <a:xfrm>
            <a:off x="0" y="-1"/>
            <a:ext cx="3492497" cy="6857999"/>
          </a:xfrm>
          <a:prstGeom prst="rect">
            <a:avLst/>
          </a:prstGeom>
          <a:gradFill>
            <a:gsLst>
              <a:gs pos="0">
                <a:schemeClr val="dk2"/>
              </a:gs>
              <a:gs pos="76000">
                <a:srgbClr val="4873F5">
                  <a:alpha val="82745"/>
                </a:srgbClr>
              </a:gs>
              <a:gs pos="100000">
                <a:srgbClr val="00B9FF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" name="Google Shape;345;p71"/>
          <p:cNvSpPr txBox="1">
            <a:spLocks noGrp="1"/>
          </p:cNvSpPr>
          <p:nvPr>
            <p:ph type="title"/>
          </p:nvPr>
        </p:nvSpPr>
        <p:spPr>
          <a:xfrm>
            <a:off x="376385" y="410423"/>
            <a:ext cx="3023598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46" name="Google Shape;346;p71"/>
          <p:cNvCxnSpPr/>
          <p:nvPr/>
        </p:nvCxnSpPr>
        <p:spPr>
          <a:xfrm>
            <a:off x="362847" y="361101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04040460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only (with background)">
  <p:cSld name="2_Title only (with background)">
    <p:bg>
      <p:bgPr>
        <a:solidFill>
          <a:schemeClr val="lt2"/>
        </a:solidFill>
        <a:effectLst/>
      </p:bgPr>
    </p:bg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7" name="Google Shape;707;p83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488916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" name="Google Shape;708;p8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709" name="Google Shape;709;p83"/>
          <p:cNvGrpSpPr/>
          <p:nvPr/>
        </p:nvGrpSpPr>
        <p:grpSpPr>
          <a:xfrm>
            <a:off x="11979441" y="4535495"/>
            <a:ext cx="110800" cy="2041948"/>
            <a:chOff x="11979441" y="4535495"/>
            <a:chExt cx="110800" cy="2041948"/>
          </a:xfrm>
        </p:grpSpPr>
        <p:grpSp>
          <p:nvGrpSpPr>
            <p:cNvPr id="710" name="Google Shape;710;p83"/>
            <p:cNvGrpSpPr/>
            <p:nvPr/>
          </p:nvGrpSpPr>
          <p:grpSpPr>
            <a:xfrm>
              <a:off x="11998460" y="6135518"/>
              <a:ext cx="68500" cy="441925"/>
              <a:chOff x="11998459" y="6162188"/>
              <a:chExt cx="68500" cy="441925"/>
            </a:xfrm>
          </p:grpSpPr>
          <p:sp>
            <p:nvSpPr>
              <p:cNvPr id="711" name="Google Shape;711;p83"/>
              <p:cNvSpPr/>
              <p:nvPr/>
            </p:nvSpPr>
            <p:spPr>
              <a:xfrm rot="-5400000">
                <a:off x="12063068" y="6476346"/>
                <a:ext cx="17" cy="1717"/>
              </a:xfrm>
              <a:custGeom>
                <a:avLst/>
                <a:gdLst/>
                <a:ahLst/>
                <a:cxnLst/>
                <a:rect l="l" t="t" r="r" b="b"/>
                <a:pathLst>
                  <a:path w="17" h="1717" extrusionOk="0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2" name="Google Shape;712;p83"/>
              <p:cNvSpPr/>
              <p:nvPr/>
            </p:nvSpPr>
            <p:spPr>
              <a:xfrm rot="-5400000">
                <a:off x="12023737" y="6455896"/>
                <a:ext cx="453" cy="271"/>
              </a:xfrm>
              <a:custGeom>
                <a:avLst/>
                <a:gdLst/>
                <a:ahLst/>
                <a:cxnLst/>
                <a:rect l="l" t="t" r="r" b="b"/>
                <a:pathLst>
                  <a:path w="453" h="271" extrusionOk="0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3" name="Google Shape;713;p83"/>
              <p:cNvSpPr/>
              <p:nvPr/>
            </p:nvSpPr>
            <p:spPr>
              <a:xfrm rot="-5400000">
                <a:off x="12023907" y="6477766"/>
                <a:ext cx="15" cy="76"/>
              </a:xfrm>
              <a:custGeom>
                <a:avLst/>
                <a:gdLst/>
                <a:ahLst/>
                <a:cxnLst/>
                <a:rect l="l" t="t" r="r" b="b"/>
                <a:pathLst>
                  <a:path w="15" h="76" extrusionOk="0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4" name="Google Shape;714;p83"/>
              <p:cNvSpPr/>
              <p:nvPr/>
            </p:nvSpPr>
            <p:spPr>
              <a:xfrm rot="-5400000">
                <a:off x="12021636" y="6473651"/>
                <a:ext cx="261" cy="103"/>
              </a:xfrm>
              <a:custGeom>
                <a:avLst/>
                <a:gdLst/>
                <a:ahLst/>
                <a:cxnLst/>
                <a:rect l="l" t="t" r="r" b="b"/>
                <a:pathLst>
                  <a:path w="261" h="103" extrusionOk="0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" name="Google Shape;715;p83"/>
              <p:cNvSpPr/>
              <p:nvPr/>
            </p:nvSpPr>
            <p:spPr>
              <a:xfrm rot="-5400000">
                <a:off x="12015635" y="6442208"/>
                <a:ext cx="51323" cy="51323"/>
              </a:xfrm>
              <a:custGeom>
                <a:avLst/>
                <a:gdLst/>
                <a:ahLst/>
                <a:cxnLst/>
                <a:rect l="l" t="t" r="r" b="b"/>
                <a:pathLst>
                  <a:path w="51323" h="51323" extrusionOk="0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6" name="Google Shape;716;p83"/>
              <p:cNvSpPr/>
              <p:nvPr/>
            </p:nvSpPr>
            <p:spPr>
              <a:xfrm rot="-5400000">
                <a:off x="12026199" y="6563439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7" name="Google Shape;717;p83"/>
              <p:cNvSpPr/>
              <p:nvPr/>
            </p:nvSpPr>
            <p:spPr>
              <a:xfrm rot="-5400000">
                <a:off x="12018640" y="6529825"/>
                <a:ext cx="45208" cy="51256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6" extrusionOk="0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8" name="Google Shape;718;p83"/>
              <p:cNvSpPr/>
              <p:nvPr/>
            </p:nvSpPr>
            <p:spPr>
              <a:xfrm rot="-5400000">
                <a:off x="12018195" y="6477145"/>
                <a:ext cx="28942" cy="68414"/>
              </a:xfrm>
              <a:custGeom>
                <a:avLst/>
                <a:gdLst/>
                <a:ahLst/>
                <a:cxnLst/>
                <a:rect l="l" t="t" r="r" b="b"/>
                <a:pathLst>
                  <a:path w="28942" h="68414" extrusionOk="0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9" name="Google Shape;719;p83"/>
              <p:cNvSpPr/>
              <p:nvPr/>
            </p:nvSpPr>
            <p:spPr>
              <a:xfrm rot="-5400000">
                <a:off x="12016830" y="6161182"/>
                <a:ext cx="49036" cy="51048"/>
              </a:xfrm>
              <a:custGeom>
                <a:avLst/>
                <a:gdLst/>
                <a:ahLst/>
                <a:cxnLst/>
                <a:rect l="l" t="t" r="r" b="b"/>
                <a:pathLst>
                  <a:path w="49036" h="51048" extrusionOk="0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0" name="Google Shape;720;p83"/>
              <p:cNvSpPr/>
              <p:nvPr/>
            </p:nvSpPr>
            <p:spPr>
              <a:xfrm rot="-5400000">
                <a:off x="12005374" y="6370523"/>
                <a:ext cx="71791" cy="51205"/>
              </a:xfrm>
              <a:custGeom>
                <a:avLst/>
                <a:gdLst/>
                <a:ahLst/>
                <a:cxnLst/>
                <a:rect l="l" t="t" r="r" b="b"/>
                <a:pathLst>
                  <a:path w="71791" h="51205" extrusionOk="0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1" name="Google Shape;721;p83"/>
              <p:cNvSpPr/>
              <p:nvPr/>
            </p:nvSpPr>
            <p:spPr>
              <a:xfrm rot="-5400000">
                <a:off x="12026199" y="6307354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2" name="Google Shape;722;p83"/>
              <p:cNvSpPr/>
              <p:nvPr/>
            </p:nvSpPr>
            <p:spPr>
              <a:xfrm rot="-5400000">
                <a:off x="12018641" y="6273739"/>
                <a:ext cx="45208" cy="51255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5" extrusionOk="0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3" name="Google Shape;723;p83"/>
              <p:cNvSpPr/>
              <p:nvPr/>
            </p:nvSpPr>
            <p:spPr>
              <a:xfrm rot="-5400000">
                <a:off x="12017163" y="6218687"/>
                <a:ext cx="48082" cy="51510"/>
              </a:xfrm>
              <a:custGeom>
                <a:avLst/>
                <a:gdLst/>
                <a:ahLst/>
                <a:cxnLst/>
                <a:rect l="l" t="t" r="r" b="b"/>
                <a:pathLst>
                  <a:path w="48082" h="51510" extrusionOk="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pic>
          <p:nvPicPr>
            <p:cNvPr id="724" name="Google Shape;724;p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rot="-5400000">
              <a:off x="11811888" y="6322371"/>
              <a:ext cx="441438" cy="6870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25" name="Google Shape;725;p83"/>
            <p:cNvSpPr txBox="1"/>
            <p:nvPr/>
          </p:nvSpPr>
          <p:spPr>
            <a:xfrm rot="-5400000">
              <a:off x="11250972" y="5263963"/>
              <a:ext cx="1567737" cy="110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0. All rights reserved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26" name="Google Shape;726;p83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478245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2 Column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5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5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0" name="Google Shape;170;p59"/>
          <p:cNvSpPr txBox="1">
            <a:spLocks noGrp="1"/>
          </p:cNvSpPr>
          <p:nvPr>
            <p:ph type="body" idx="1"/>
          </p:nvPr>
        </p:nvSpPr>
        <p:spPr>
          <a:xfrm>
            <a:off x="550863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59"/>
          <p:cNvSpPr txBox="1">
            <a:spLocks noGrp="1"/>
          </p:cNvSpPr>
          <p:nvPr>
            <p:ph type="body" idx="2"/>
          </p:nvPr>
        </p:nvSpPr>
        <p:spPr>
          <a:xfrm>
            <a:off x="550863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" name="Google Shape;172;p59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" name="Google Shape;173;p59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59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078132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6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6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" name="Google Shape;178;p60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35069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60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35069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60"/>
          <p:cNvSpPr txBox="1">
            <a:spLocks noGrp="1"/>
          </p:cNvSpPr>
          <p:nvPr>
            <p:ph type="body" idx="3"/>
          </p:nvPr>
        </p:nvSpPr>
        <p:spPr>
          <a:xfrm>
            <a:off x="8135839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60"/>
          <p:cNvSpPr txBox="1">
            <a:spLocks noGrp="1"/>
          </p:cNvSpPr>
          <p:nvPr>
            <p:ph type="body" idx="4"/>
          </p:nvPr>
        </p:nvSpPr>
        <p:spPr>
          <a:xfrm>
            <a:off x="8135839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60"/>
          <p:cNvSpPr txBox="1">
            <a:spLocks noGrp="1"/>
          </p:cNvSpPr>
          <p:nvPr>
            <p:ph type="body" idx="5"/>
          </p:nvPr>
        </p:nvSpPr>
        <p:spPr>
          <a:xfrm>
            <a:off x="4344162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60"/>
          <p:cNvSpPr txBox="1">
            <a:spLocks noGrp="1"/>
          </p:cNvSpPr>
          <p:nvPr>
            <p:ph type="body" idx="6"/>
          </p:nvPr>
        </p:nvSpPr>
        <p:spPr>
          <a:xfrm>
            <a:off x="4344162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6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848528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">
  <p:cSld name="5 Column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62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p6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8" name="Google Shape;188;p62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62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" name="Google Shape;190;p62"/>
          <p:cNvSpPr txBox="1">
            <a:spLocks noGrp="1"/>
          </p:cNvSpPr>
          <p:nvPr>
            <p:ph type="body" idx="3"/>
          </p:nvPr>
        </p:nvSpPr>
        <p:spPr>
          <a:xfrm>
            <a:off x="5104050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" name="Google Shape;191;p62"/>
          <p:cNvSpPr txBox="1">
            <a:spLocks noGrp="1"/>
          </p:cNvSpPr>
          <p:nvPr>
            <p:ph type="body" idx="4"/>
          </p:nvPr>
        </p:nvSpPr>
        <p:spPr>
          <a:xfrm>
            <a:off x="5104050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62"/>
          <p:cNvSpPr txBox="1">
            <a:spLocks noGrp="1"/>
          </p:cNvSpPr>
          <p:nvPr>
            <p:ph type="body" idx="5"/>
          </p:nvPr>
        </p:nvSpPr>
        <p:spPr>
          <a:xfrm>
            <a:off x="2827457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" name="Google Shape;193;p62"/>
          <p:cNvSpPr txBox="1">
            <a:spLocks noGrp="1"/>
          </p:cNvSpPr>
          <p:nvPr>
            <p:ph type="body" idx="6"/>
          </p:nvPr>
        </p:nvSpPr>
        <p:spPr>
          <a:xfrm>
            <a:off x="2827457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62"/>
          <p:cNvSpPr txBox="1">
            <a:spLocks noGrp="1"/>
          </p:cNvSpPr>
          <p:nvPr>
            <p:ph type="body" idx="7"/>
          </p:nvPr>
        </p:nvSpPr>
        <p:spPr>
          <a:xfrm>
            <a:off x="7380643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" name="Google Shape;195;p62"/>
          <p:cNvSpPr txBox="1">
            <a:spLocks noGrp="1"/>
          </p:cNvSpPr>
          <p:nvPr>
            <p:ph type="body" idx="8"/>
          </p:nvPr>
        </p:nvSpPr>
        <p:spPr>
          <a:xfrm>
            <a:off x="7380643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" name="Google Shape;196;p62"/>
          <p:cNvSpPr txBox="1">
            <a:spLocks noGrp="1"/>
          </p:cNvSpPr>
          <p:nvPr>
            <p:ph type="body" idx="9"/>
          </p:nvPr>
        </p:nvSpPr>
        <p:spPr>
          <a:xfrm>
            <a:off x="9660801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62"/>
          <p:cNvSpPr txBox="1">
            <a:spLocks noGrp="1"/>
          </p:cNvSpPr>
          <p:nvPr>
            <p:ph type="body" idx="13"/>
          </p:nvPr>
        </p:nvSpPr>
        <p:spPr>
          <a:xfrm>
            <a:off x="9660801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" name="Google Shape;198;p62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857966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_2">
  <p:cSld name="1/3 Blue on Left_2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63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8235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" name="Google Shape;201;p63"/>
          <p:cNvSpPr txBox="1">
            <a:spLocks noGrp="1"/>
          </p:cNvSpPr>
          <p:nvPr>
            <p:ph type="title"/>
          </p:nvPr>
        </p:nvSpPr>
        <p:spPr>
          <a:xfrm>
            <a:off x="566141" y="2546064"/>
            <a:ext cx="3032465" cy="1765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  <a:defRPr sz="45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" name="Google Shape;202;p6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3" name="Google Shape;203;p63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793945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oleObject" Target="../embeddings/oleObject5.bin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4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8B45EBE-552E-2EC2-48EB-68E71DF932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55801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5" imgH="396" progId="TCLayout.ActiveDocument.1">
                  <p:embed/>
                </p:oleObj>
              </mc:Choice>
              <mc:Fallback>
                <p:oleObj name="think-cell Slide" r:id="rId21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oogle Shape;10;p4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1" name="Google Shape;11;p4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2;p4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3;p4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4;p4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5;p4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;p4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4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4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9;p4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4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4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2;p4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3;p4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4" name="Google Shape;24;p45"/>
          <p:cNvPicPr preferRelativeResize="0"/>
          <p:nvPr/>
        </p:nvPicPr>
        <p:blipFill rotWithShape="1">
          <a:blip r:embed="rId23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4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45"/>
          <p:cNvSpPr txBox="1">
            <a:spLocks noGrp="1"/>
          </p:cNvSpPr>
          <p:nvPr>
            <p:ph type="body" idx="1"/>
          </p:nvPr>
        </p:nvSpPr>
        <p:spPr>
          <a:xfrm>
            <a:off x="550862" y="1859913"/>
            <a:ext cx="11089973" cy="1349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0040" algn="l" rtl="0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0039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4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" name="Google Shape;29;p4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0" name="Google Shape;30;p4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" name="Google Shape;31;p45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5458531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245F17-99DD-9C17-43D9-1F68E3A4EE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394983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5" imgH="396" progId="TCLayout.ActiveDocument.1">
                  <p:embed/>
                </p:oleObj>
              </mc:Choice>
              <mc:Fallback>
                <p:oleObj name="think-cell Slide" r:id="rId21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245F17-99DD-9C17-43D9-1F68E3A4EE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oogle Shape;10;p4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1" name="Google Shape;11;p4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2;p4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3;p4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4;p4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5;p4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;p4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4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4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9;p4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4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4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2;p4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3;p4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4" name="Google Shape;24;p45"/>
          <p:cNvPicPr preferRelativeResize="0"/>
          <p:nvPr/>
        </p:nvPicPr>
        <p:blipFill rotWithShape="1">
          <a:blip r:embed="rId23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4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45"/>
          <p:cNvSpPr txBox="1">
            <a:spLocks noGrp="1"/>
          </p:cNvSpPr>
          <p:nvPr>
            <p:ph type="body" idx="1"/>
          </p:nvPr>
        </p:nvSpPr>
        <p:spPr>
          <a:xfrm>
            <a:off x="550862" y="1859913"/>
            <a:ext cx="11089973" cy="1349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0040" algn="l" rtl="0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0039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4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" name="Google Shape;29;p4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0" name="Google Shape;30;p4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" name="Google Shape;31;p45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6634163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245F17-99DD-9C17-43D9-1F68E3A4EE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394983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5" imgH="396" progId="TCLayout.ActiveDocument.1">
                  <p:embed/>
                </p:oleObj>
              </mc:Choice>
              <mc:Fallback>
                <p:oleObj name="think-cell Slide" r:id="rId21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245F17-99DD-9C17-43D9-1F68E3A4EE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oogle Shape;10;p4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1" name="Google Shape;11;p4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2;p4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3;p4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4;p4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5;p4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;p4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4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4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9;p4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4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4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2;p4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3;p4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4" name="Google Shape;24;p45"/>
          <p:cNvPicPr preferRelativeResize="0"/>
          <p:nvPr/>
        </p:nvPicPr>
        <p:blipFill rotWithShape="1">
          <a:blip r:embed="rId23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4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45"/>
          <p:cNvSpPr txBox="1">
            <a:spLocks noGrp="1"/>
          </p:cNvSpPr>
          <p:nvPr>
            <p:ph type="body" idx="1"/>
          </p:nvPr>
        </p:nvSpPr>
        <p:spPr>
          <a:xfrm>
            <a:off x="550862" y="1859913"/>
            <a:ext cx="11089973" cy="1349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0040" algn="l" rtl="0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0039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4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" name="Google Shape;29;p4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0" name="Google Shape;30;p4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" name="Google Shape;31;p45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2715922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8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.emf"/><Relationship Id="rId10" Type="http://schemas.openxmlformats.org/officeDocument/2006/relationships/image" Target="../media/image18.sv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5.png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11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1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10" Type="http://schemas.openxmlformats.org/officeDocument/2006/relationships/image" Target="../media/image33.sv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10" Type="http://schemas.openxmlformats.org/officeDocument/2006/relationships/image" Target="../media/image31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8D12684-BF2D-36DF-BC22-3B98C9072B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8D12684-BF2D-36DF-BC22-3B98C9072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8" name="Google Shape;1388;p7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843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</a:pPr>
            <a:r>
              <a:rPr lang="en-US" dirty="0"/>
              <a:t>Data Analytics</a:t>
            </a:r>
            <a:endParaRPr dirty="0"/>
          </a:p>
        </p:txBody>
      </p:sp>
      <p:sp>
        <p:nvSpPr>
          <p:cNvPr id="1389" name="Google Shape;1389;p74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  <a:tabLst/>
                <a:defRPr/>
              </a:pPr>
              <a:t>1</a:t>
            </a:fld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39986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FA31E36-F37D-35BF-1D9C-E46E1E6E14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FA31E36-F37D-35BF-1D9C-E46E1E6E1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4" name="Google Shape;1394;p8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5205071" cy="886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dirty="0"/>
              <a:t>Infomineo has a unique</a:t>
            </a:r>
            <a:br>
              <a:rPr lang="en-US" dirty="0"/>
            </a:br>
            <a:r>
              <a:rPr lang="en-US" dirty="0"/>
              <a:t>approach to Data Analytics</a:t>
            </a:r>
            <a:endParaRPr dirty="0"/>
          </a:p>
        </p:txBody>
      </p:sp>
      <p:sp>
        <p:nvSpPr>
          <p:cNvPr id="1395" name="Google Shape;1395;p8"/>
          <p:cNvSpPr txBox="1"/>
          <p:nvPr/>
        </p:nvSpPr>
        <p:spPr>
          <a:xfrm>
            <a:off x="550863" y="2343394"/>
            <a:ext cx="5193608" cy="41857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st Data Analytics companies provide </a:t>
            </a: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ndard models </a:t>
            </a:r>
            <a:r>
              <a:rPr lang="en-US" sz="160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at they transpose from a client to another. </a:t>
            </a:r>
            <a: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uch models very often </a:t>
            </a:r>
            <a:r>
              <a:rPr lang="en-US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main at Proof-Of-Concept stage, as integration with IT systems is not completed</a:t>
            </a: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endParaRPr lang="en-US"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st Data Analytics providers are specialized in Data Visualization tools, e.g. Tableau, Power BI, etc.</a:t>
            </a: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endParaRPr lang="en-US"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endParaRPr lang="en-US"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lvl="1" indent="-176213">
              <a:buClr>
                <a:schemeClr val="dk2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st providers work on a </a:t>
            </a:r>
            <a:r>
              <a:rPr lang="en-US" sz="16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ject basis – </a:t>
            </a:r>
            <a:r>
              <a:rPr lang="en-US" sz="160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fter project completion, </a:t>
            </a:r>
            <a:r>
              <a:rPr lang="en-US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 models can be hard for clients to maintain over time</a:t>
            </a: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endParaRPr lang="en-US"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endParaRPr lang="en-US" sz="16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me providers retain rights on the Intellectual Property they generate</a:t>
            </a:r>
            <a:br>
              <a:rPr lang="en-US" sz="1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endParaRPr sz="16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6" name="Google Shape;1396;p8"/>
          <p:cNvSpPr txBox="1"/>
          <p:nvPr/>
        </p:nvSpPr>
        <p:spPr>
          <a:xfrm>
            <a:off x="550863" y="1857375"/>
            <a:ext cx="5193608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None/>
            </a:pPr>
            <a:r>
              <a:rPr lang="en-US" sz="2000" b="0" i="0" u="none" strike="noStrike" cap="none">
                <a:solidFill>
                  <a:schemeClr val="accent1"/>
                </a:solidFill>
                <a:latin typeface="Lato Black"/>
                <a:ea typeface="Lato Black"/>
                <a:cs typeface="Lato Black"/>
                <a:sym typeface="Lato Black"/>
              </a:rPr>
              <a:t>Traditional mode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97" name="Google Shape;1397;p8"/>
          <p:cNvSpPr txBox="1"/>
          <p:nvPr/>
        </p:nvSpPr>
        <p:spPr>
          <a:xfrm>
            <a:off x="6447529" y="2343394"/>
            <a:ext cx="5193608" cy="3939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e are </a:t>
            </a:r>
            <a:r>
              <a:rPr lang="en-US" sz="1600" b="1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problem solvers</a:t>
            </a: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, we need to understand your question or challenge and will find the data and models that answer your questions. The output is co-constructed with our client and not a model taken off the shelf</a:t>
            </a:r>
          </a:p>
          <a:p>
            <a:pPr marR="0"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</a:pPr>
            <a:endParaRPr lang="en-US" sz="16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e have a multi capabilities team that can provide you an end-to-end approach from cleaning the data to visualizing the model output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8477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None/>
            </a:pPr>
            <a:endParaRPr sz="16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e work on a </a:t>
            </a:r>
            <a:r>
              <a:rPr lang="en-US" sz="1600" b="1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tainer basis</a:t>
            </a: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, we are an extension of your team, and make it easy to work with us, which 1/minimizes the time you spend on paperwork and 2/allows you to work with us on an iterative basis</a:t>
            </a: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Char char="▪"/>
            </a:pPr>
            <a:endParaRPr lang="en-US" sz="1600" dirty="0">
              <a:solidFill>
                <a:schemeClr val="lt1"/>
              </a:solidFill>
              <a:latin typeface="Calibri"/>
              <a:cs typeface="Calibri"/>
              <a:sym typeface="Calibri"/>
            </a:endParaRPr>
          </a:p>
          <a:p>
            <a:pPr marL="176213" marR="0" lvl="1" indent="-17621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Char char="▪"/>
            </a:pPr>
            <a:r>
              <a:rPr lang="en-US" sz="1600" b="0" i="0" u="none" strike="noStrike" cap="none" dirty="0">
                <a:solidFill>
                  <a:schemeClr val="lt1"/>
                </a:solidFill>
                <a:latin typeface="Calibri"/>
                <a:ea typeface="Arial"/>
                <a:cs typeface="Calibri"/>
                <a:sym typeface="Calibri"/>
              </a:rPr>
              <a:t>The output of our work </a:t>
            </a:r>
            <a:r>
              <a:rPr lang="en-US" sz="1600" dirty="0">
                <a:solidFill>
                  <a:schemeClr val="lt1"/>
                </a:solidFill>
                <a:latin typeface="Calibri"/>
                <a:cs typeface="Calibri"/>
                <a:sym typeface="Calibri"/>
              </a:rPr>
              <a:t>will become a knowledge asset of our client, who will hold the Intellectual Property of it</a:t>
            </a:r>
            <a:endParaRPr sz="16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8" name="Google Shape;1398;p8"/>
          <p:cNvSpPr txBox="1"/>
          <p:nvPr/>
        </p:nvSpPr>
        <p:spPr>
          <a:xfrm>
            <a:off x="6447529" y="1857375"/>
            <a:ext cx="5193608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accent1"/>
                </a:solidFill>
                <a:latin typeface="Lato Black"/>
                <a:ea typeface="Lato Black"/>
                <a:cs typeface="Lato Black"/>
                <a:sym typeface="Lato Black"/>
              </a:rPr>
              <a:t>Infomineo mode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399" name="Google Shape;1399;p8"/>
          <p:cNvGrpSpPr/>
          <p:nvPr/>
        </p:nvGrpSpPr>
        <p:grpSpPr>
          <a:xfrm>
            <a:off x="10976464" y="135255"/>
            <a:ext cx="1046733" cy="468742"/>
            <a:chOff x="10976464" y="135255"/>
            <a:chExt cx="1046733" cy="468742"/>
          </a:xfrm>
        </p:grpSpPr>
        <p:sp>
          <p:nvSpPr>
            <p:cNvPr id="1400" name="Google Shape;1400;p8"/>
            <p:cNvSpPr txBox="1"/>
            <p:nvPr/>
          </p:nvSpPr>
          <p:spPr>
            <a:xfrm>
              <a:off x="10976464" y="292682"/>
              <a:ext cx="533800" cy="1538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0" i="0" u="none" strike="noStrike" cap="none" dirty="0">
                  <a:solidFill>
                    <a:schemeClr val="lt1"/>
                  </a:solidFill>
                  <a:latin typeface="Franklin Gothic"/>
                  <a:ea typeface="Franklin Gothic"/>
                  <a:cs typeface="Franklin Gothic"/>
                  <a:sym typeface="Franklin Gothic"/>
                </a:rPr>
                <a:t>Analytics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1" name="Google Shape;1401;p8"/>
            <p:cNvSpPr/>
            <p:nvPr/>
          </p:nvSpPr>
          <p:spPr>
            <a:xfrm>
              <a:off x="11554453" y="135255"/>
              <a:ext cx="468744" cy="468742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DF02F8F0-C73C-571A-BF70-C42A2FFC5F62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/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612672" y="193473"/>
            <a:ext cx="352305" cy="35230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745872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26DEB3-3265-216D-7BC6-01475BCAF0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650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26DEB3-3265-216D-7BC6-01475BCAF0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48014154-F194-C8BE-861E-CDC04A733CFD}"/>
              </a:ext>
            </a:extLst>
          </p:cNvPr>
          <p:cNvGrpSpPr/>
          <p:nvPr/>
        </p:nvGrpSpPr>
        <p:grpSpPr>
          <a:xfrm>
            <a:off x="4183637" y="1117804"/>
            <a:ext cx="3840480" cy="5516721"/>
            <a:chOff x="4412108" y="1117804"/>
            <a:chExt cx="3387145" cy="5516721"/>
          </a:xfrm>
        </p:grpSpPr>
        <p:sp>
          <p:nvSpPr>
            <p:cNvPr id="1408" name="Google Shape;1408;p9"/>
            <p:cNvSpPr/>
            <p:nvPr/>
          </p:nvSpPr>
          <p:spPr>
            <a:xfrm>
              <a:off x="4412108" y="1117804"/>
              <a:ext cx="3387145" cy="5516721"/>
            </a:xfrm>
            <a:prstGeom prst="roundRect">
              <a:avLst>
                <a:gd name="adj" fmla="val 3729"/>
              </a:avLst>
            </a:prstGeom>
            <a:solidFill>
              <a:schemeClr val="lt1"/>
            </a:solidFill>
            <a:ln>
              <a:noFill/>
            </a:ln>
            <a:effectLst>
              <a:outerShdw blurRad="508000" algn="ctr" rotWithShape="0">
                <a:srgbClr val="000000">
                  <a:alpha val="12941"/>
                </a:srgbClr>
              </a:outerShdw>
            </a:effectLst>
          </p:spPr>
          <p:txBody>
            <a:bodyPr spcFirstLastPara="1" wrap="square" lIns="144000" tIns="180000" rIns="144000" bIns="18000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41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B9FF"/>
                </a:buClr>
                <a:buSzPts val="1200"/>
                <a:buFont typeface="Calibri"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3" name="Google Shape;1413;p9"/>
            <p:cNvSpPr/>
            <p:nvPr/>
          </p:nvSpPr>
          <p:spPr>
            <a:xfrm>
              <a:off x="4540221" y="1290619"/>
              <a:ext cx="3111557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Franklin Gothic"/>
                  <a:ea typeface="Franklin Gothic"/>
                  <a:cs typeface="Franklin Gothic"/>
                  <a:sym typeface="Franklin Gothic"/>
                </a:rPr>
                <a:t>Business Oriented Approach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9C19116-947E-1D50-2644-C6A3E0273722}"/>
              </a:ext>
            </a:extLst>
          </p:cNvPr>
          <p:cNvGrpSpPr/>
          <p:nvPr/>
        </p:nvGrpSpPr>
        <p:grpSpPr>
          <a:xfrm>
            <a:off x="173031" y="1114998"/>
            <a:ext cx="3844497" cy="5516721"/>
            <a:chOff x="550863" y="1117804"/>
            <a:chExt cx="3387145" cy="5516721"/>
          </a:xfrm>
        </p:grpSpPr>
        <p:sp>
          <p:nvSpPr>
            <p:cNvPr id="1407" name="Google Shape;1407;p9"/>
            <p:cNvSpPr/>
            <p:nvPr/>
          </p:nvSpPr>
          <p:spPr>
            <a:xfrm>
              <a:off x="550863" y="1117804"/>
              <a:ext cx="3387145" cy="5516721"/>
            </a:xfrm>
            <a:prstGeom prst="roundRect">
              <a:avLst>
                <a:gd name="adj" fmla="val 3729"/>
              </a:avLst>
            </a:prstGeom>
            <a:solidFill>
              <a:schemeClr val="lt1"/>
            </a:solidFill>
            <a:ln>
              <a:noFill/>
            </a:ln>
            <a:effectLst>
              <a:outerShdw blurRad="508000" algn="ctr" rotWithShape="0">
                <a:srgbClr val="000000">
                  <a:alpha val="12941"/>
                </a:srgbClr>
              </a:outerShdw>
            </a:effectLst>
          </p:spPr>
          <p:txBody>
            <a:bodyPr spcFirstLastPara="1" wrap="square" lIns="144000" tIns="180000" rIns="144000" bIns="18000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41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B9FF"/>
                </a:buClr>
                <a:buSzPts val="1200"/>
                <a:buFont typeface="Calibri"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4" name="Google Shape;1414;p9"/>
            <p:cNvSpPr/>
            <p:nvPr/>
          </p:nvSpPr>
          <p:spPr>
            <a:xfrm>
              <a:off x="902337" y="1290619"/>
              <a:ext cx="2684196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B9FF"/>
                  </a:solidFill>
                  <a:effectLst/>
                  <a:uLnTx/>
                  <a:uFillTx/>
                  <a:latin typeface="Franklin Gothic"/>
                  <a:ea typeface="Franklin Gothic"/>
                  <a:cs typeface="Franklin Gothic"/>
                  <a:sym typeface="Franklin Gothic"/>
                </a:rPr>
                <a:t>Three Levels of Analytics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410" name="Google Shape;1410;p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dirty="0" err="1"/>
              <a:t>Infomineo</a:t>
            </a:r>
            <a:r>
              <a:rPr lang="en-US" dirty="0"/>
              <a:t> offers a full suite of Data Analytics Services</a:t>
            </a:r>
            <a:endParaRPr dirty="0"/>
          </a:p>
        </p:txBody>
      </p:sp>
      <p:sp>
        <p:nvSpPr>
          <p:cNvPr id="1411" name="Google Shape;1411;p9"/>
          <p:cNvSpPr txBox="1"/>
          <p:nvPr/>
        </p:nvSpPr>
        <p:spPr>
          <a:xfrm>
            <a:off x="1746808" y="2268937"/>
            <a:ext cx="2011680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85750" marR="0" lvl="1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ata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Cleaning</a:t>
            </a:r>
          </a:p>
          <a:p>
            <a:pPr marL="285750" lvl="1" indent="-285750">
              <a:lnSpc>
                <a:spcPct val="90000"/>
              </a:lnSpc>
              <a:buClr>
                <a:srgbClr val="00B0F0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Exploration</a:t>
            </a:r>
          </a:p>
          <a:p>
            <a:pPr marL="285750" lvl="1" indent="-285750">
              <a:lnSpc>
                <a:spcPct val="90000"/>
              </a:lnSpc>
              <a:buClr>
                <a:srgbClr val="00B0F0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Statistical Analysis</a:t>
            </a:r>
          </a:p>
          <a:p>
            <a:pPr marL="285750" marR="0" lvl="1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Visualization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E57048E-54B6-0D23-2959-83B78068A895}"/>
              </a:ext>
            </a:extLst>
          </p:cNvPr>
          <p:cNvGrpSpPr/>
          <p:nvPr/>
        </p:nvGrpSpPr>
        <p:grpSpPr>
          <a:xfrm>
            <a:off x="8190226" y="1117804"/>
            <a:ext cx="3840480" cy="5516721"/>
            <a:chOff x="8273352" y="1117804"/>
            <a:chExt cx="3387145" cy="5516721"/>
          </a:xfrm>
        </p:grpSpPr>
        <p:sp>
          <p:nvSpPr>
            <p:cNvPr id="1409" name="Google Shape;1409;p9"/>
            <p:cNvSpPr/>
            <p:nvPr/>
          </p:nvSpPr>
          <p:spPr>
            <a:xfrm>
              <a:off x="8273352" y="1117804"/>
              <a:ext cx="3387145" cy="5516721"/>
            </a:xfrm>
            <a:prstGeom prst="roundRect">
              <a:avLst>
                <a:gd name="adj" fmla="val 3729"/>
              </a:avLst>
            </a:prstGeom>
            <a:solidFill>
              <a:schemeClr val="lt1"/>
            </a:solidFill>
            <a:ln>
              <a:noFill/>
            </a:ln>
            <a:effectLst>
              <a:outerShdw blurRad="508000" algn="ctr" rotWithShape="0">
                <a:srgbClr val="000000">
                  <a:alpha val="12941"/>
                </a:srgbClr>
              </a:outerShdw>
            </a:effectLst>
          </p:spPr>
          <p:txBody>
            <a:bodyPr spcFirstLastPara="1" wrap="square" lIns="144000" tIns="180000" rIns="144000" bIns="18000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41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B9FF"/>
                </a:buClr>
                <a:buSzPts val="1200"/>
                <a:buFont typeface="Calibri"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2" name="Google Shape;1412;p9"/>
            <p:cNvSpPr/>
            <p:nvPr/>
          </p:nvSpPr>
          <p:spPr>
            <a:xfrm>
              <a:off x="8395310" y="1290619"/>
              <a:ext cx="3093155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B9FF"/>
                  </a:solidFill>
                  <a:effectLst/>
                  <a:uLnTx/>
                  <a:uFillTx/>
                  <a:latin typeface="Franklin Gothic"/>
                  <a:ea typeface="Franklin Gothic"/>
                  <a:cs typeface="Franklin Gothic"/>
                  <a:sym typeface="Franklin Gothic"/>
                </a:rPr>
                <a:t>Three Types of Data Support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9504EB0-1BAD-CA3B-9F61-5AB680D6AAF0}"/>
              </a:ext>
            </a:extLst>
          </p:cNvPr>
          <p:cNvGrpSpPr/>
          <p:nvPr/>
        </p:nvGrpSpPr>
        <p:grpSpPr>
          <a:xfrm>
            <a:off x="390727" y="2123530"/>
            <a:ext cx="1141654" cy="1280160"/>
            <a:chOff x="728785" y="1952928"/>
            <a:chExt cx="1005840" cy="1280160"/>
          </a:xfrm>
        </p:grpSpPr>
        <p:sp>
          <p:nvSpPr>
            <p:cNvPr id="1415" name="Google Shape;1415;p9"/>
            <p:cNvSpPr/>
            <p:nvPr/>
          </p:nvSpPr>
          <p:spPr>
            <a:xfrm rot="5400000">
              <a:off x="591625" y="2090088"/>
              <a:ext cx="1280160" cy="1005840"/>
            </a:xfrm>
            <a:prstGeom prst="homePlate">
              <a:avLst>
                <a:gd name="adj" fmla="val 18367"/>
              </a:avLst>
            </a:prstGeom>
            <a:solidFill>
              <a:srgbClr val="00B0F0"/>
            </a:solidFill>
            <a:ln w="190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9" name="Google Shape;1419;p9"/>
            <p:cNvSpPr txBox="1"/>
            <p:nvPr/>
          </p:nvSpPr>
          <p:spPr>
            <a:xfrm>
              <a:off x="759265" y="2399109"/>
              <a:ext cx="944880" cy="3877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Data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Analysis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C173708-8F88-28E2-A021-041EAA4BB332}"/>
              </a:ext>
            </a:extLst>
          </p:cNvPr>
          <p:cNvGrpSpPr/>
          <p:nvPr/>
        </p:nvGrpSpPr>
        <p:grpSpPr>
          <a:xfrm>
            <a:off x="397635" y="3660664"/>
            <a:ext cx="1141654" cy="1280160"/>
            <a:chOff x="735693" y="3300855"/>
            <a:chExt cx="1005840" cy="1280160"/>
          </a:xfrm>
        </p:grpSpPr>
        <p:sp>
          <p:nvSpPr>
            <p:cNvPr id="1416" name="Google Shape;1416;p9"/>
            <p:cNvSpPr/>
            <p:nvPr/>
          </p:nvSpPr>
          <p:spPr>
            <a:xfrm rot="5400000">
              <a:off x="598533" y="3438015"/>
              <a:ext cx="1280160" cy="1005840"/>
            </a:xfrm>
            <a:prstGeom prst="chevron">
              <a:avLst>
                <a:gd name="adj" fmla="val 17686"/>
              </a:avLst>
            </a:prstGeom>
            <a:solidFill>
              <a:srgbClr val="00B0F0"/>
            </a:solidFill>
            <a:ln w="190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0" name="Google Shape;1420;p9"/>
            <p:cNvSpPr txBox="1"/>
            <p:nvPr/>
          </p:nvSpPr>
          <p:spPr>
            <a:xfrm>
              <a:off x="766173" y="3747036"/>
              <a:ext cx="944880" cy="3877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Data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Science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F99AB58-15C0-E567-B6F5-5E97CDE3B6D8}"/>
              </a:ext>
            </a:extLst>
          </p:cNvPr>
          <p:cNvGrpSpPr/>
          <p:nvPr/>
        </p:nvGrpSpPr>
        <p:grpSpPr>
          <a:xfrm>
            <a:off x="383984" y="5197798"/>
            <a:ext cx="1168955" cy="1280160"/>
            <a:chOff x="711639" y="4648782"/>
            <a:chExt cx="1029893" cy="1280160"/>
          </a:xfrm>
        </p:grpSpPr>
        <p:sp>
          <p:nvSpPr>
            <p:cNvPr id="1417" name="Google Shape;1417;p9"/>
            <p:cNvSpPr/>
            <p:nvPr/>
          </p:nvSpPr>
          <p:spPr>
            <a:xfrm rot="5400000">
              <a:off x="586506" y="4773915"/>
              <a:ext cx="1280160" cy="1029893"/>
            </a:xfrm>
            <a:prstGeom prst="chevron">
              <a:avLst>
                <a:gd name="adj" fmla="val 17686"/>
              </a:avLst>
            </a:prstGeom>
            <a:solidFill>
              <a:srgbClr val="00B0F0"/>
            </a:solidFill>
            <a:ln w="190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1" name="Google Shape;1421;p9"/>
            <p:cNvSpPr txBox="1"/>
            <p:nvPr/>
          </p:nvSpPr>
          <p:spPr>
            <a:xfrm>
              <a:off x="754146" y="5094962"/>
              <a:ext cx="944880" cy="3877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Data Engineering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23" name="Google Shape;1423;p9"/>
          <p:cNvSpPr txBox="1"/>
          <p:nvPr/>
        </p:nvSpPr>
        <p:spPr>
          <a:xfrm>
            <a:off x="1746808" y="3820688"/>
            <a:ext cx="2011680" cy="581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85750" lvl="1" indent="-285750">
              <a:lnSpc>
                <a:spcPct val="90000"/>
              </a:lnSpc>
              <a:buClr>
                <a:srgbClr val="00B0F0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Model building &amp; tuning</a:t>
            </a:r>
          </a:p>
          <a:p>
            <a:pPr marL="285750" lvl="1" indent="-285750">
              <a:lnSpc>
                <a:spcPct val="90000"/>
              </a:lnSpc>
              <a:buClr>
                <a:srgbClr val="00B0F0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Model evaluation &amp; retraining </a:t>
            </a:r>
            <a:endParaRPr dirty="0">
              <a:solidFill>
                <a:srgbClr val="3D3D3D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1424" name="Google Shape;1424;p9"/>
          <p:cNvSpPr txBox="1"/>
          <p:nvPr/>
        </p:nvSpPr>
        <p:spPr>
          <a:xfrm>
            <a:off x="1767033" y="5197797"/>
            <a:ext cx="2011680" cy="969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85750" lvl="1" indent="-285750" defTabSz="914400" eaLnBrk="1" fontAlgn="auto" latinLnBrk="0" hangingPunct="1">
              <a:lnSpc>
                <a:spcPct val="90000"/>
              </a:lnSpc>
              <a:buClr>
                <a:srgbClr val="00B0F0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ata Sourcing &amp; Integration</a:t>
            </a:r>
          </a:p>
          <a:p>
            <a:pPr marL="285750" lvl="1" indent="-285750" defTabSz="914400" eaLnBrk="1" fontAlgn="auto" latinLnBrk="0" hangingPunct="1">
              <a:lnSpc>
                <a:spcPct val="90000"/>
              </a:lnSpc>
              <a:buClr>
                <a:srgbClr val="00B0F0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Feature Engineering &amp; Data transformation</a:t>
            </a:r>
          </a:p>
          <a:p>
            <a:pPr marL="285750" lvl="1" indent="-285750" defTabSz="914400" eaLnBrk="1" fontAlgn="auto" latinLnBrk="0" hangingPunct="1">
              <a:lnSpc>
                <a:spcPct val="90000"/>
              </a:lnSpc>
              <a:buClr>
                <a:srgbClr val="00B0F0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Model Deployment &amp; scalability</a:t>
            </a:r>
            <a:endParaRPr dirty="0">
              <a:solidFill>
                <a:srgbClr val="3D3D3D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1427" name="Google Shape;1427;p9"/>
          <p:cNvSpPr/>
          <p:nvPr/>
        </p:nvSpPr>
        <p:spPr>
          <a:xfrm>
            <a:off x="4476249" y="2890688"/>
            <a:ext cx="1463040" cy="1463040"/>
          </a:xfrm>
          <a:prstGeom prst="flowChartConnector">
            <a:avLst/>
          </a:prstGeom>
          <a:solidFill>
            <a:schemeClr val="bg2"/>
          </a:solidFill>
          <a:ln>
            <a:headEnd type="none" w="sm" len="sm"/>
            <a:tailEnd type="none" w="sm" len="sm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9" name="Google Shape;1429;p9"/>
          <p:cNvSpPr/>
          <p:nvPr/>
        </p:nvSpPr>
        <p:spPr>
          <a:xfrm>
            <a:off x="5235545" y="3966808"/>
            <a:ext cx="1463040" cy="1463040"/>
          </a:xfrm>
          <a:prstGeom prst="flowChartConnector">
            <a:avLst/>
          </a:prstGeom>
          <a:solidFill>
            <a:schemeClr val="bg2"/>
          </a:solidFill>
          <a:ln>
            <a:headEnd type="none" w="sm" len="sm"/>
            <a:tailEnd type="none" w="sm" len="sm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0" name="Google Shape;1430;p9"/>
          <p:cNvSpPr txBox="1"/>
          <p:nvPr/>
        </p:nvSpPr>
        <p:spPr>
          <a:xfrm>
            <a:off x="4734959" y="3397441"/>
            <a:ext cx="982722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Business &amp; Data Understanding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2" name="Google Shape;1432;p9"/>
          <p:cNvSpPr txBox="1"/>
          <p:nvPr/>
        </p:nvSpPr>
        <p:spPr>
          <a:xfrm>
            <a:off x="5419525" y="4532129"/>
            <a:ext cx="1095080" cy="33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elivery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anagement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3" name="Google Shape;1433;p9"/>
          <p:cNvSpPr txBox="1"/>
          <p:nvPr/>
        </p:nvSpPr>
        <p:spPr>
          <a:xfrm>
            <a:off x="4300246" y="2262722"/>
            <a:ext cx="1645920" cy="581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nfomineo’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teams demonstrate a high Business sense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420C9FE-E774-4F67-CC9D-4E955A7A627B}"/>
              </a:ext>
            </a:extLst>
          </p:cNvPr>
          <p:cNvGrpSpPr/>
          <p:nvPr/>
        </p:nvGrpSpPr>
        <p:grpSpPr>
          <a:xfrm>
            <a:off x="6377540" y="2668376"/>
            <a:ext cx="1645920" cy="2240399"/>
            <a:chOff x="6235034" y="2549623"/>
            <a:chExt cx="1645920" cy="2240399"/>
          </a:xfrm>
        </p:grpSpPr>
        <p:sp>
          <p:nvSpPr>
            <p:cNvPr id="1428" name="Google Shape;1428;p9"/>
            <p:cNvSpPr/>
            <p:nvPr/>
          </p:nvSpPr>
          <p:spPr>
            <a:xfrm>
              <a:off x="6250183" y="3326982"/>
              <a:ext cx="1463040" cy="1463040"/>
            </a:xfrm>
            <a:prstGeom prst="flowChartConnector">
              <a:avLst/>
            </a:prstGeom>
            <a:solidFill>
              <a:schemeClr val="bg2"/>
            </a:solidFill>
            <a:ln>
              <a:headEnd type="none" w="sm" len="sm"/>
              <a:tailEnd type="none" w="sm" len="sm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1" name="Google Shape;1431;p9"/>
            <p:cNvSpPr txBox="1"/>
            <p:nvPr/>
          </p:nvSpPr>
          <p:spPr>
            <a:xfrm>
              <a:off x="6550122" y="3892303"/>
              <a:ext cx="863163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Agile Methodology</a:t>
              </a:r>
              <a:endParaRPr kumimoji="0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4" name="Google Shape;1434;p9"/>
            <p:cNvSpPr txBox="1"/>
            <p:nvPr/>
          </p:nvSpPr>
          <p:spPr>
            <a:xfrm>
              <a:off x="6235034" y="2549623"/>
              <a:ext cx="1645920" cy="5816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1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B05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We work in an iterative approach to fulfill clients needs quickly</a:t>
              </a:r>
              <a:endParaRPr kumimoji="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Arial"/>
              </a:endParaRPr>
            </a:p>
          </p:txBody>
        </p:sp>
      </p:grpSp>
      <p:sp>
        <p:nvSpPr>
          <p:cNvPr id="1435" name="Google Shape;1435;p9"/>
          <p:cNvSpPr txBox="1"/>
          <p:nvPr/>
        </p:nvSpPr>
        <p:spPr>
          <a:xfrm>
            <a:off x="4892668" y="5567381"/>
            <a:ext cx="2011680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Release &amp; Change Management are handled: versioning, unit tests, model validation, documentation…  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/>
            </a:endParaRPr>
          </a:p>
        </p:txBody>
      </p:sp>
      <p:sp>
        <p:nvSpPr>
          <p:cNvPr id="3" name="Google Shape;1400;p8">
            <a:extLst>
              <a:ext uri="{FF2B5EF4-FFF2-40B4-BE49-F238E27FC236}">
                <a16:creationId xmlns:a16="http://schemas.microsoft.com/office/drawing/2014/main" id="{09B7420E-07FF-5A01-0077-413D903814B3}"/>
              </a:ext>
            </a:extLst>
          </p:cNvPr>
          <p:cNvSpPr txBox="1"/>
          <p:nvPr/>
        </p:nvSpPr>
        <p:spPr>
          <a:xfrm>
            <a:off x="10976464" y="292682"/>
            <a:ext cx="533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  <a:t>Analytic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F47F2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BEF7809-1304-BB3B-8466-062E965920D1}"/>
              </a:ext>
            </a:extLst>
          </p:cNvPr>
          <p:cNvGrpSpPr/>
          <p:nvPr/>
        </p:nvGrpSpPr>
        <p:grpSpPr>
          <a:xfrm>
            <a:off x="11557889" y="135255"/>
            <a:ext cx="468744" cy="468742"/>
            <a:chOff x="11706853" y="287655"/>
            <a:chExt cx="468744" cy="468742"/>
          </a:xfrm>
        </p:grpSpPr>
        <p:sp>
          <p:nvSpPr>
            <p:cNvPr id="6" name="Google Shape;1401;p8">
              <a:extLst>
                <a:ext uri="{FF2B5EF4-FFF2-40B4-BE49-F238E27FC236}">
                  <a16:creationId xmlns:a16="http://schemas.microsoft.com/office/drawing/2014/main" id="{45037A39-E961-9573-1D46-AE6362AE12DD}"/>
                </a:ext>
              </a:extLst>
            </p:cNvPr>
            <p:cNvSpPr/>
            <p:nvPr/>
          </p:nvSpPr>
          <p:spPr>
            <a:xfrm>
              <a:off x="11706853" y="287655"/>
              <a:ext cx="468744" cy="46874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  <a:tabLst/>
                <a:defRPr/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D00EA03-4E69-E82D-B336-107B61E9682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lum bright="70000" contrast="-70000"/>
              <a:alphaModFix/>
            </a:blip>
            <a:stretch>
              <a:fillRect/>
            </a:stretch>
          </p:blipFill>
          <p:spPr>
            <a:xfrm>
              <a:off x="11795074" y="375875"/>
              <a:ext cx="292302" cy="292302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8" name="Graphic 27" descr="Research outline">
            <a:extLst>
              <a:ext uri="{FF2B5EF4-FFF2-40B4-BE49-F238E27FC236}">
                <a16:creationId xmlns:a16="http://schemas.microsoft.com/office/drawing/2014/main" id="{562E190F-7C61-3BFB-02F1-DDBFF29EA5F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2231" y="2185461"/>
            <a:ext cx="411480" cy="411480"/>
          </a:xfrm>
          <a:prstGeom prst="rect">
            <a:avLst/>
          </a:prstGeom>
        </p:spPr>
      </p:pic>
      <p:pic>
        <p:nvPicPr>
          <p:cNvPr id="29" name="Graphic 28" descr="Business Growth outline">
            <a:extLst>
              <a:ext uri="{FF2B5EF4-FFF2-40B4-BE49-F238E27FC236}">
                <a16:creationId xmlns:a16="http://schemas.microsoft.com/office/drawing/2014/main" id="{1156ACFB-3F32-3E31-4587-D8AA86655B2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14754" y="3818557"/>
            <a:ext cx="411480" cy="411480"/>
          </a:xfrm>
          <a:prstGeom prst="rect">
            <a:avLst/>
          </a:prstGeom>
        </p:spPr>
      </p:pic>
      <p:pic>
        <p:nvPicPr>
          <p:cNvPr id="30" name="Graphic 29" descr="Server outline">
            <a:extLst>
              <a:ext uri="{FF2B5EF4-FFF2-40B4-BE49-F238E27FC236}">
                <a16:creationId xmlns:a16="http://schemas.microsoft.com/office/drawing/2014/main" id="{FBEE2CA9-279A-3DAF-D833-90C535C7DD4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flipH="1">
            <a:off x="333660" y="5309752"/>
            <a:ext cx="411480" cy="411480"/>
          </a:xfrm>
          <a:prstGeom prst="rect">
            <a:avLst/>
          </a:prstGeom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8915280-2210-4BED-45D1-06D4E7461956}"/>
              </a:ext>
            </a:extLst>
          </p:cNvPr>
          <p:cNvSpPr>
            <a:spLocks/>
          </p:cNvSpPr>
          <p:nvPr/>
        </p:nvSpPr>
        <p:spPr>
          <a:xfrm>
            <a:off x="8286972" y="1917296"/>
            <a:ext cx="3646989" cy="1304830"/>
          </a:xfrm>
          <a:prstGeom prst="roundRect">
            <a:avLst/>
          </a:prstGeom>
          <a:solidFill>
            <a:srgbClr val="CCF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cquire &amp; Prepare</a:t>
            </a:r>
          </a:p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Unleash the power of Information : </a:t>
            </a:r>
            <a:r>
              <a:rPr lang="en-US" sz="1400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d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scover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, assess, clean, and transform Data from multiple 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source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with 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ease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AE5034A-5192-66BF-39BF-761D7A9B5656}"/>
              </a:ext>
            </a:extLst>
          </p:cNvPr>
          <p:cNvSpPr>
            <a:spLocks/>
          </p:cNvSpPr>
          <p:nvPr/>
        </p:nvSpPr>
        <p:spPr>
          <a:xfrm>
            <a:off x="8258583" y="3428999"/>
            <a:ext cx="3646989" cy="158097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nalyze</a:t>
            </a:r>
          </a:p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171450" marR="0" lvl="1" indent="-17145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Empower your business with dynamic insights</a:t>
            </a:r>
            <a:r>
              <a:rPr lang="en-US" sz="1200" b="1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with unified Self-Service Analytics.</a:t>
            </a:r>
          </a:p>
          <a:p>
            <a:pPr marL="171450" marR="0" lvl="1" indent="-17145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endParaRPr kumimoji="0" lang="en-US" sz="700" b="1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171450" marR="0" lvl="1" indent="-17145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Tackle critical business challenges 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using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cutting-edge 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model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to tackle 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critical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business 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challenges.</a:t>
            </a:r>
            <a:endParaRPr lang="en-US" sz="1200" b="1" dirty="0">
              <a:solidFill>
                <a:schemeClr val="bg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7A8ADCD5-943C-CE7F-68EE-F2B6E178D0D7}"/>
              </a:ext>
            </a:extLst>
          </p:cNvPr>
          <p:cNvSpPr>
            <a:spLocks/>
          </p:cNvSpPr>
          <p:nvPr/>
        </p:nvSpPr>
        <p:spPr>
          <a:xfrm>
            <a:off x="8286972" y="5211856"/>
            <a:ext cx="3646989" cy="130483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algn="ctr">
              <a:lnSpc>
                <a:spcPct val="90000"/>
              </a:lnSpc>
              <a:buClr>
                <a:srgbClr val="00B050"/>
              </a:buClr>
              <a:buSzPts val="1400"/>
              <a:defRPr/>
            </a:pPr>
            <a:r>
              <a:rPr lang="en-US" sz="1800" b="1" dirty="0">
                <a:solidFill>
                  <a:schemeClr val="bg2"/>
                </a:solidFill>
                <a:latin typeface="Calibri"/>
                <a:ea typeface="Calibri"/>
                <a:cs typeface="Calibri"/>
              </a:rPr>
              <a:t>Deploy</a:t>
            </a:r>
          </a:p>
          <a:p>
            <a:pPr lvl="1" algn="ctr">
              <a:lnSpc>
                <a:spcPct val="90000"/>
              </a:lnSpc>
              <a:buClr>
                <a:srgbClr val="00B050"/>
              </a:buClr>
              <a:buSzPts val="1400"/>
              <a:defRPr/>
            </a:pPr>
            <a:endParaRPr lang="en-US" sz="1000" b="1" dirty="0">
              <a:solidFill>
                <a:schemeClr val="bg2"/>
              </a:solidFill>
              <a:latin typeface="Calibri"/>
              <a:ea typeface="Calibri"/>
              <a:cs typeface="Calibri"/>
            </a:endParaRPr>
          </a:p>
          <a:p>
            <a:pPr lvl="1" algn="ctr">
              <a:lnSpc>
                <a:spcPct val="90000"/>
              </a:lnSpc>
              <a:buClr>
                <a:srgbClr val="00B050"/>
              </a:buClr>
              <a:buSzPts val="1400"/>
              <a:defRPr/>
            </a:pPr>
            <a:r>
              <a:rPr lang="en-US" b="1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Bringing Models to Life</a:t>
            </a:r>
            <a:r>
              <a:rPr lang="en-US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: seamless deployment, monitoring, and integration into client's infrastructure for maximum impact.</a:t>
            </a:r>
          </a:p>
          <a:p>
            <a:pPr lvl="1" algn="ctr">
              <a:lnSpc>
                <a:spcPct val="90000"/>
              </a:lnSpc>
              <a:buClr>
                <a:srgbClr val="00B050"/>
              </a:buClr>
              <a:buSzPts val="1400"/>
              <a:defRPr/>
            </a:pPr>
            <a:endParaRPr lang="en-US" sz="1600" b="1" dirty="0">
              <a:solidFill>
                <a:schemeClr val="bg2"/>
              </a:solidFill>
              <a:latin typeface="Calibri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74671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ct 70" hidden="1">
            <a:extLst>
              <a:ext uri="{FF2B5EF4-FFF2-40B4-BE49-F238E27FC236}">
                <a16:creationId xmlns:a16="http://schemas.microsoft.com/office/drawing/2014/main" id="{957DF080-A4A6-78D9-E87E-D1326CC7C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9200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3D94645-A2C9-8EB3-1C71-C7A50E610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399" y="560588"/>
            <a:ext cx="11509229" cy="443198"/>
          </a:xfrm>
        </p:spPr>
        <p:txBody>
          <a:bodyPr vert="horz"/>
          <a:lstStyle/>
          <a:p>
            <a:r>
              <a:rPr lang="en-US" dirty="0"/>
              <a:t>Infomineo team provides a complete solution for your data needs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208272A-C036-FB13-DD22-EB462582ED65}"/>
              </a:ext>
            </a:extLst>
          </p:cNvPr>
          <p:cNvSpPr>
            <a:spLocks/>
          </p:cNvSpPr>
          <p:nvPr/>
        </p:nvSpPr>
        <p:spPr>
          <a:xfrm>
            <a:off x="114770" y="1351020"/>
            <a:ext cx="2675931" cy="1237801"/>
          </a:xfrm>
          <a:prstGeom prst="roundRect">
            <a:avLst/>
          </a:prstGeom>
          <a:solidFill>
            <a:srgbClr val="CCF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cquire &amp; Prepare</a:t>
            </a:r>
          </a:p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endParaRPr kumimoji="0" lang="en-US" sz="300" b="0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Unleash the power of Information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, d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scover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, Assess, Clean, and Transform Data from multiple 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source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with 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ease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87B403E-3078-85BD-D697-A0A5A5E0748E}"/>
              </a:ext>
            </a:extLst>
          </p:cNvPr>
          <p:cNvSpPr>
            <a:spLocks/>
          </p:cNvSpPr>
          <p:nvPr/>
        </p:nvSpPr>
        <p:spPr>
          <a:xfrm>
            <a:off x="114770" y="2956957"/>
            <a:ext cx="2675931" cy="20648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nalyze</a:t>
            </a:r>
          </a:p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171450" marR="0" lvl="1" indent="-17145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Empower your business with dynamic insights</a:t>
            </a:r>
            <a:r>
              <a:rPr lang="en-US" sz="1200" b="1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with unified Self-Service Analytics.</a:t>
            </a:r>
          </a:p>
          <a:p>
            <a:pPr marL="171450" marR="0" lvl="1" indent="-17145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endParaRPr kumimoji="0" lang="en-US" sz="700" b="1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171450" marR="0" lvl="1" indent="-17145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endParaRPr lang="en-US" b="1" dirty="0">
              <a:solidFill>
                <a:srgbClr val="3D3D3D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1450" marR="0" lvl="1" indent="-17145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Tackle critical business challenges 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using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cutting-edge 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model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to tackle 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critical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business </a:t>
            </a:r>
            <a:r>
              <a:rPr lang="en-US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challenges.</a:t>
            </a:r>
            <a:endParaRPr lang="en-US" sz="1200" b="1" dirty="0">
              <a:solidFill>
                <a:schemeClr val="bg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7497EBBD-0C8B-937A-BF74-D6FDCD430B51}"/>
              </a:ext>
            </a:extLst>
          </p:cNvPr>
          <p:cNvSpPr>
            <a:spLocks/>
          </p:cNvSpPr>
          <p:nvPr/>
        </p:nvSpPr>
        <p:spPr>
          <a:xfrm>
            <a:off x="114770" y="5389986"/>
            <a:ext cx="2599203" cy="130483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algn="ctr">
              <a:lnSpc>
                <a:spcPct val="90000"/>
              </a:lnSpc>
              <a:buClr>
                <a:srgbClr val="00B050"/>
              </a:buClr>
              <a:buSzPts val="1400"/>
              <a:defRPr/>
            </a:pPr>
            <a:r>
              <a:rPr lang="en-US" sz="1800" b="1" dirty="0">
                <a:solidFill>
                  <a:schemeClr val="bg2"/>
                </a:solidFill>
                <a:latin typeface="Calibri"/>
                <a:ea typeface="Calibri"/>
                <a:cs typeface="Calibri"/>
              </a:rPr>
              <a:t>Deploy</a:t>
            </a:r>
          </a:p>
          <a:p>
            <a:pPr lvl="1" algn="ctr">
              <a:lnSpc>
                <a:spcPct val="90000"/>
              </a:lnSpc>
              <a:buClr>
                <a:srgbClr val="00B050"/>
              </a:buClr>
              <a:buSzPts val="1400"/>
              <a:defRPr/>
            </a:pPr>
            <a:endParaRPr lang="en-US" sz="300" b="1" dirty="0">
              <a:solidFill>
                <a:schemeClr val="bg2"/>
              </a:solidFill>
              <a:latin typeface="Calibri"/>
              <a:ea typeface="Calibri"/>
              <a:cs typeface="Calibri"/>
            </a:endParaRPr>
          </a:p>
          <a:p>
            <a:pPr lvl="1" algn="ctr">
              <a:lnSpc>
                <a:spcPct val="90000"/>
              </a:lnSpc>
              <a:buClr>
                <a:srgbClr val="00B050"/>
              </a:buClr>
              <a:buSzPts val="1400"/>
              <a:defRPr/>
            </a:pPr>
            <a:r>
              <a:rPr lang="en-US" b="1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Bringing Models to Life</a:t>
            </a:r>
            <a:r>
              <a:rPr lang="en-US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: seamless deployment, monitoring, and integration into client's infrastructure for maximum impact.</a:t>
            </a:r>
            <a:endParaRPr lang="en-US" sz="1600" b="1" dirty="0">
              <a:solidFill>
                <a:schemeClr val="bg2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7" name="Google Shape;373;p1">
            <a:extLst>
              <a:ext uri="{FF2B5EF4-FFF2-40B4-BE49-F238E27FC236}">
                <a16:creationId xmlns:a16="http://schemas.microsoft.com/office/drawing/2014/main" id="{200CA511-A999-FFB1-5362-6F4B27F499DC}"/>
              </a:ext>
            </a:extLst>
          </p:cNvPr>
          <p:cNvSpPr/>
          <p:nvPr/>
        </p:nvSpPr>
        <p:spPr>
          <a:xfrm>
            <a:off x="2836091" y="1720715"/>
            <a:ext cx="1097280" cy="53406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Sources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28" name="Google Shape;379;p1">
            <a:extLst>
              <a:ext uri="{FF2B5EF4-FFF2-40B4-BE49-F238E27FC236}">
                <a16:creationId xmlns:a16="http://schemas.microsoft.com/office/drawing/2014/main" id="{D471675F-18A4-1A2B-4504-ABBB919E2A3E}"/>
              </a:ext>
            </a:extLst>
          </p:cNvPr>
          <p:cNvSpPr/>
          <p:nvPr/>
        </p:nvSpPr>
        <p:spPr>
          <a:xfrm>
            <a:off x="4031137" y="1720715"/>
            <a:ext cx="1097280" cy="53406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ntegration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29" name="Google Shape;410;p1">
            <a:extLst>
              <a:ext uri="{FF2B5EF4-FFF2-40B4-BE49-F238E27FC236}">
                <a16:creationId xmlns:a16="http://schemas.microsoft.com/office/drawing/2014/main" id="{888C82C6-CB1B-3786-FA1E-EB4C5AD57160}"/>
              </a:ext>
            </a:extLst>
          </p:cNvPr>
          <p:cNvSpPr/>
          <p:nvPr/>
        </p:nvSpPr>
        <p:spPr>
          <a:xfrm>
            <a:off x="5226183" y="1720715"/>
            <a:ext cx="1097280" cy="53406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torage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30" name="Google Shape;410;p1">
            <a:extLst>
              <a:ext uri="{FF2B5EF4-FFF2-40B4-BE49-F238E27FC236}">
                <a16:creationId xmlns:a16="http://schemas.microsoft.com/office/drawing/2014/main" id="{CF398B0B-DCD8-F63E-90B3-23D242C878BA}"/>
              </a:ext>
            </a:extLst>
          </p:cNvPr>
          <p:cNvSpPr/>
          <p:nvPr/>
        </p:nvSpPr>
        <p:spPr>
          <a:xfrm>
            <a:off x="6421228" y="1720715"/>
            <a:ext cx="1097280" cy="53406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reparation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7EE3C91-4F0D-FA78-BE1E-15E2A5C70391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4348" t="11657" r="15614" b="38039"/>
          <a:stretch/>
        </p:blipFill>
        <p:spPr>
          <a:xfrm>
            <a:off x="11310676" y="1810218"/>
            <a:ext cx="457200" cy="457200"/>
          </a:xfrm>
          <a:prstGeom prst="rect">
            <a:avLst/>
          </a:prstGeom>
        </p:spPr>
      </p:pic>
      <p:sp>
        <p:nvSpPr>
          <p:cNvPr id="33" name="Google Shape;376;p1">
            <a:extLst>
              <a:ext uri="{FF2B5EF4-FFF2-40B4-BE49-F238E27FC236}">
                <a16:creationId xmlns:a16="http://schemas.microsoft.com/office/drawing/2014/main" id="{A3F8E0C2-F8E4-E6F2-25CD-6109B3A702B0}"/>
              </a:ext>
            </a:extLst>
          </p:cNvPr>
          <p:cNvSpPr/>
          <p:nvPr/>
        </p:nvSpPr>
        <p:spPr>
          <a:xfrm>
            <a:off x="7614291" y="3405367"/>
            <a:ext cx="1188720" cy="494676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xploration 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Visualization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41" name="Google Shape;377;p1">
            <a:extLst>
              <a:ext uri="{FF2B5EF4-FFF2-40B4-BE49-F238E27FC236}">
                <a16:creationId xmlns:a16="http://schemas.microsoft.com/office/drawing/2014/main" id="{587E5480-1D88-BA8E-F387-3F7693DD40A7}"/>
              </a:ext>
            </a:extLst>
          </p:cNvPr>
          <p:cNvSpPr/>
          <p:nvPr/>
        </p:nvSpPr>
        <p:spPr>
          <a:xfrm>
            <a:off x="8850597" y="4337021"/>
            <a:ext cx="1005840" cy="494676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odeling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48" name="Google Shape;373;p1">
            <a:extLst>
              <a:ext uri="{FF2B5EF4-FFF2-40B4-BE49-F238E27FC236}">
                <a16:creationId xmlns:a16="http://schemas.microsoft.com/office/drawing/2014/main" id="{67201518-9E96-5EA4-56AF-957905DF6813}"/>
              </a:ext>
            </a:extLst>
          </p:cNvPr>
          <p:cNvSpPr/>
          <p:nvPr/>
        </p:nvSpPr>
        <p:spPr>
          <a:xfrm>
            <a:off x="2834109" y="3405367"/>
            <a:ext cx="1097280" cy="53406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Sources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49" name="Google Shape;379;p1">
            <a:extLst>
              <a:ext uri="{FF2B5EF4-FFF2-40B4-BE49-F238E27FC236}">
                <a16:creationId xmlns:a16="http://schemas.microsoft.com/office/drawing/2014/main" id="{EEDBEDA4-5854-223D-4408-72940DABFD05}"/>
              </a:ext>
            </a:extLst>
          </p:cNvPr>
          <p:cNvSpPr/>
          <p:nvPr/>
        </p:nvSpPr>
        <p:spPr>
          <a:xfrm>
            <a:off x="4029155" y="3405367"/>
            <a:ext cx="1097280" cy="53406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ntegration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50" name="Google Shape;410;p1">
            <a:extLst>
              <a:ext uri="{FF2B5EF4-FFF2-40B4-BE49-F238E27FC236}">
                <a16:creationId xmlns:a16="http://schemas.microsoft.com/office/drawing/2014/main" id="{DEB03AB0-7AC9-DA66-FB04-9D4489EECCCB}"/>
              </a:ext>
            </a:extLst>
          </p:cNvPr>
          <p:cNvSpPr/>
          <p:nvPr/>
        </p:nvSpPr>
        <p:spPr>
          <a:xfrm>
            <a:off x="5224201" y="3405367"/>
            <a:ext cx="1097280" cy="53406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torage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51" name="Google Shape;410;p1">
            <a:extLst>
              <a:ext uri="{FF2B5EF4-FFF2-40B4-BE49-F238E27FC236}">
                <a16:creationId xmlns:a16="http://schemas.microsoft.com/office/drawing/2014/main" id="{C24997F9-5B3E-0F5C-CFAE-AE29FF65FE7F}"/>
              </a:ext>
            </a:extLst>
          </p:cNvPr>
          <p:cNvSpPr/>
          <p:nvPr/>
        </p:nvSpPr>
        <p:spPr>
          <a:xfrm>
            <a:off x="6419246" y="3405367"/>
            <a:ext cx="1097280" cy="53406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reparation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52" name="Google Shape;373;p1">
            <a:extLst>
              <a:ext uri="{FF2B5EF4-FFF2-40B4-BE49-F238E27FC236}">
                <a16:creationId xmlns:a16="http://schemas.microsoft.com/office/drawing/2014/main" id="{C636A401-B681-0D2A-1B7A-A4347F5036BD}"/>
              </a:ext>
            </a:extLst>
          </p:cNvPr>
          <p:cNvSpPr/>
          <p:nvPr/>
        </p:nvSpPr>
        <p:spPr>
          <a:xfrm>
            <a:off x="2834109" y="4338272"/>
            <a:ext cx="1097280" cy="53406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Sources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53" name="Google Shape;379;p1">
            <a:extLst>
              <a:ext uri="{FF2B5EF4-FFF2-40B4-BE49-F238E27FC236}">
                <a16:creationId xmlns:a16="http://schemas.microsoft.com/office/drawing/2014/main" id="{8469BF50-658B-F38B-1427-C7B9EC6CC32D}"/>
              </a:ext>
            </a:extLst>
          </p:cNvPr>
          <p:cNvSpPr/>
          <p:nvPr/>
        </p:nvSpPr>
        <p:spPr>
          <a:xfrm>
            <a:off x="4029155" y="4338272"/>
            <a:ext cx="1097280" cy="53406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ntegration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54" name="Google Shape;410;p1">
            <a:extLst>
              <a:ext uri="{FF2B5EF4-FFF2-40B4-BE49-F238E27FC236}">
                <a16:creationId xmlns:a16="http://schemas.microsoft.com/office/drawing/2014/main" id="{048F4BCA-5A5B-216B-0AB3-A797A5DE667D}"/>
              </a:ext>
            </a:extLst>
          </p:cNvPr>
          <p:cNvSpPr/>
          <p:nvPr/>
        </p:nvSpPr>
        <p:spPr>
          <a:xfrm>
            <a:off x="5224201" y="4338272"/>
            <a:ext cx="1097280" cy="53406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torage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55" name="Google Shape;410;p1">
            <a:extLst>
              <a:ext uri="{FF2B5EF4-FFF2-40B4-BE49-F238E27FC236}">
                <a16:creationId xmlns:a16="http://schemas.microsoft.com/office/drawing/2014/main" id="{6C055782-23D1-37E1-EB2B-698FD958F1FA}"/>
              </a:ext>
            </a:extLst>
          </p:cNvPr>
          <p:cNvSpPr/>
          <p:nvPr/>
        </p:nvSpPr>
        <p:spPr>
          <a:xfrm>
            <a:off x="6419246" y="4338272"/>
            <a:ext cx="1097280" cy="53406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reparation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56" name="Google Shape;376;p1">
            <a:extLst>
              <a:ext uri="{FF2B5EF4-FFF2-40B4-BE49-F238E27FC236}">
                <a16:creationId xmlns:a16="http://schemas.microsoft.com/office/drawing/2014/main" id="{17DCA20F-94EC-6024-2B35-1422E988BA35}"/>
              </a:ext>
            </a:extLst>
          </p:cNvPr>
          <p:cNvSpPr/>
          <p:nvPr/>
        </p:nvSpPr>
        <p:spPr>
          <a:xfrm>
            <a:off x="7614291" y="4337021"/>
            <a:ext cx="1188720" cy="494676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xploration 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Visualization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EDC4FB1-7431-C494-37EF-37E217035661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734800" y="3362138"/>
            <a:ext cx="457200" cy="4572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FAA45F21-D73E-1846-5991-EB29B5CADA4B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4348" t="11657" r="15614" b="38039"/>
          <a:stretch/>
        </p:blipFill>
        <p:spPr>
          <a:xfrm>
            <a:off x="11273833" y="3319882"/>
            <a:ext cx="457200" cy="457200"/>
          </a:xfrm>
          <a:prstGeom prst="rect">
            <a:avLst/>
          </a:prstGeom>
        </p:spPr>
      </p:pic>
      <p:sp>
        <p:nvSpPr>
          <p:cNvPr id="60" name="Google Shape;377;p1">
            <a:extLst>
              <a:ext uri="{FF2B5EF4-FFF2-40B4-BE49-F238E27FC236}">
                <a16:creationId xmlns:a16="http://schemas.microsoft.com/office/drawing/2014/main" id="{4789D555-2CCB-9876-5882-D9B2E4628ACD}"/>
              </a:ext>
            </a:extLst>
          </p:cNvPr>
          <p:cNvSpPr/>
          <p:nvPr/>
        </p:nvSpPr>
        <p:spPr>
          <a:xfrm>
            <a:off x="8869736" y="5858466"/>
            <a:ext cx="1005840" cy="494676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odeling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61" name="Google Shape;373;p1">
            <a:extLst>
              <a:ext uri="{FF2B5EF4-FFF2-40B4-BE49-F238E27FC236}">
                <a16:creationId xmlns:a16="http://schemas.microsoft.com/office/drawing/2014/main" id="{C19C62C2-0B34-60C9-DED6-B0C2640C3F5D}"/>
              </a:ext>
            </a:extLst>
          </p:cNvPr>
          <p:cNvSpPr/>
          <p:nvPr/>
        </p:nvSpPr>
        <p:spPr>
          <a:xfrm>
            <a:off x="2853248" y="5859717"/>
            <a:ext cx="1097280" cy="53406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Sources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62" name="Google Shape;379;p1">
            <a:extLst>
              <a:ext uri="{FF2B5EF4-FFF2-40B4-BE49-F238E27FC236}">
                <a16:creationId xmlns:a16="http://schemas.microsoft.com/office/drawing/2014/main" id="{0E36D652-1CC0-231F-6DFC-E54367134F56}"/>
              </a:ext>
            </a:extLst>
          </p:cNvPr>
          <p:cNvSpPr/>
          <p:nvPr/>
        </p:nvSpPr>
        <p:spPr>
          <a:xfrm>
            <a:off x="4048294" y="5859717"/>
            <a:ext cx="1097280" cy="53406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ntegration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63" name="Google Shape;410;p1">
            <a:extLst>
              <a:ext uri="{FF2B5EF4-FFF2-40B4-BE49-F238E27FC236}">
                <a16:creationId xmlns:a16="http://schemas.microsoft.com/office/drawing/2014/main" id="{AB721EAB-A7BB-F008-34F7-A028A80D9AEB}"/>
              </a:ext>
            </a:extLst>
          </p:cNvPr>
          <p:cNvSpPr/>
          <p:nvPr/>
        </p:nvSpPr>
        <p:spPr>
          <a:xfrm>
            <a:off x="5243340" y="5859717"/>
            <a:ext cx="1097280" cy="53406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torage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64" name="Google Shape;410;p1">
            <a:extLst>
              <a:ext uri="{FF2B5EF4-FFF2-40B4-BE49-F238E27FC236}">
                <a16:creationId xmlns:a16="http://schemas.microsoft.com/office/drawing/2014/main" id="{053B8E4D-985F-9EC5-04AC-E51C82672363}"/>
              </a:ext>
            </a:extLst>
          </p:cNvPr>
          <p:cNvSpPr/>
          <p:nvPr/>
        </p:nvSpPr>
        <p:spPr>
          <a:xfrm>
            <a:off x="6438385" y="5859717"/>
            <a:ext cx="1097280" cy="53406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reparation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65" name="Google Shape;376;p1">
            <a:extLst>
              <a:ext uri="{FF2B5EF4-FFF2-40B4-BE49-F238E27FC236}">
                <a16:creationId xmlns:a16="http://schemas.microsoft.com/office/drawing/2014/main" id="{92564F93-C3B1-7EF8-B175-4626ADF3F0D7}"/>
              </a:ext>
            </a:extLst>
          </p:cNvPr>
          <p:cNvSpPr/>
          <p:nvPr/>
        </p:nvSpPr>
        <p:spPr>
          <a:xfrm>
            <a:off x="7633430" y="5858466"/>
            <a:ext cx="1188720" cy="494676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xploration 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Visualization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69" name="Google Shape;377;p1">
            <a:extLst>
              <a:ext uri="{FF2B5EF4-FFF2-40B4-BE49-F238E27FC236}">
                <a16:creationId xmlns:a16="http://schemas.microsoft.com/office/drawing/2014/main" id="{10865A94-DF3F-749A-B7BB-C9D1B944C6C1}"/>
              </a:ext>
            </a:extLst>
          </p:cNvPr>
          <p:cNvSpPr/>
          <p:nvPr/>
        </p:nvSpPr>
        <p:spPr>
          <a:xfrm>
            <a:off x="9977934" y="5856605"/>
            <a:ext cx="1097280" cy="494676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eployment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5925D30C-5F6B-E851-B2BA-87286F4A1F19}"/>
              </a:ext>
            </a:extLst>
          </p:cNvPr>
          <p:cNvSpPr txBox="1"/>
          <p:nvPr/>
        </p:nvSpPr>
        <p:spPr>
          <a:xfrm>
            <a:off x="11351540" y="2218903"/>
            <a:ext cx="3866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05F6CEE-09F4-A1A3-D868-3225BB2F7130}"/>
              </a:ext>
            </a:extLst>
          </p:cNvPr>
          <p:cNvSpPr txBox="1"/>
          <p:nvPr/>
        </p:nvSpPr>
        <p:spPr>
          <a:xfrm>
            <a:off x="11293361" y="3723955"/>
            <a:ext cx="3866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FC288E6-9704-CF26-1058-87E6CC2785EF}"/>
              </a:ext>
            </a:extLst>
          </p:cNvPr>
          <p:cNvSpPr txBox="1"/>
          <p:nvPr/>
        </p:nvSpPr>
        <p:spPr>
          <a:xfrm>
            <a:off x="11813563" y="3731704"/>
            <a:ext cx="4074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E2FC20EA-D816-E2A3-A4C9-85185DF2A9C3}"/>
              </a:ext>
            </a:extLst>
          </p:cNvPr>
          <p:cNvGrpSpPr/>
          <p:nvPr/>
        </p:nvGrpSpPr>
        <p:grpSpPr>
          <a:xfrm>
            <a:off x="11275604" y="4120395"/>
            <a:ext cx="916396" cy="1225204"/>
            <a:chOff x="11275604" y="4120395"/>
            <a:chExt cx="916396" cy="1225204"/>
          </a:xfrm>
        </p:grpSpPr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95269B22-D4D3-8160-5FA7-01D99417438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1502433" y="4663356"/>
              <a:ext cx="457200" cy="457200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DE93F3B6-BA7E-7B6B-78B2-7EB290F62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1724037" y="4126074"/>
              <a:ext cx="457200" cy="457200"/>
            </a:xfrm>
            <a:prstGeom prst="rect">
              <a:avLst/>
            </a:prstGeom>
          </p:spPr>
        </p:pic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5729B567-0CE1-DF49-53A4-27F364DE264F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 l="14348" t="11657" r="15614" b="38039"/>
            <a:stretch/>
          </p:blipFill>
          <p:spPr>
            <a:xfrm>
              <a:off x="11275604" y="4120395"/>
              <a:ext cx="457200" cy="457200"/>
            </a:xfrm>
            <a:prstGeom prst="rect">
              <a:avLst/>
            </a:prstGeom>
          </p:spPr>
        </p:pic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6579EEA-E9FF-4730-3003-D88093C965D6}"/>
                </a:ext>
              </a:extLst>
            </p:cNvPr>
            <p:cNvSpPr txBox="1"/>
            <p:nvPr/>
          </p:nvSpPr>
          <p:spPr>
            <a:xfrm>
              <a:off x="11299913" y="4523173"/>
              <a:ext cx="38664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accent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E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EED153C6-DF9D-1865-A33C-5F5DBE9D68B8}"/>
                </a:ext>
              </a:extLst>
            </p:cNvPr>
            <p:cNvSpPr txBox="1"/>
            <p:nvPr/>
          </p:nvSpPr>
          <p:spPr>
            <a:xfrm>
              <a:off x="11784516" y="4487989"/>
              <a:ext cx="40748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accent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739E406E-0E53-3BF4-3658-E73B6334797B}"/>
                </a:ext>
              </a:extLst>
            </p:cNvPr>
            <p:cNvSpPr txBox="1"/>
            <p:nvPr/>
          </p:nvSpPr>
          <p:spPr>
            <a:xfrm>
              <a:off x="11467193" y="5037822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accent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S</a:t>
              </a:r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968C9D1-5CAC-DDE6-2448-A07CF15641BF}"/>
              </a:ext>
            </a:extLst>
          </p:cNvPr>
          <p:cNvCxnSpPr/>
          <p:nvPr/>
        </p:nvCxnSpPr>
        <p:spPr>
          <a:xfrm>
            <a:off x="11158339" y="1389416"/>
            <a:ext cx="0" cy="5314208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5B5F9F24-C855-8FC0-52EF-056685B7A46A}"/>
              </a:ext>
            </a:extLst>
          </p:cNvPr>
          <p:cNvSpPr txBox="1"/>
          <p:nvPr/>
        </p:nvSpPr>
        <p:spPr>
          <a:xfrm>
            <a:off x="11140109" y="1235380"/>
            <a:ext cx="105189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pabilities</a:t>
            </a:r>
          </a:p>
          <a:p>
            <a:endParaRPr lang="en-US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51E2FCC4-00CD-58C4-7581-E7BE7C845D5D}"/>
              </a:ext>
            </a:extLst>
          </p:cNvPr>
          <p:cNvSpPr txBox="1"/>
          <p:nvPr/>
        </p:nvSpPr>
        <p:spPr>
          <a:xfrm>
            <a:off x="-4222" y="6659170"/>
            <a:ext cx="52000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 : Data Engineering, DA : Data Analysis, DS:  Data Science</a:t>
            </a: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1E218FBB-CCB4-74B2-229B-3D39DCE9844B}"/>
              </a:ext>
            </a:extLst>
          </p:cNvPr>
          <p:cNvGrpSpPr/>
          <p:nvPr/>
        </p:nvGrpSpPr>
        <p:grpSpPr>
          <a:xfrm>
            <a:off x="11216972" y="5519637"/>
            <a:ext cx="916396" cy="1225204"/>
            <a:chOff x="11275604" y="4120395"/>
            <a:chExt cx="916396" cy="1225204"/>
          </a:xfrm>
        </p:grpSpPr>
        <p:pic>
          <p:nvPicPr>
            <p:cNvPr id="113" name="Picture 112">
              <a:extLst>
                <a:ext uri="{FF2B5EF4-FFF2-40B4-BE49-F238E27FC236}">
                  <a16:creationId xmlns:a16="http://schemas.microsoft.com/office/drawing/2014/main" id="{0733B6C6-6940-B342-CBCA-54A1FA4584C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1502433" y="4663356"/>
              <a:ext cx="457200" cy="457200"/>
            </a:xfrm>
            <a:prstGeom prst="rect">
              <a:avLst/>
            </a:prstGeom>
          </p:spPr>
        </p:pic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id="{563BC8DD-D701-C2EF-89B9-06031247F70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1724037" y="4126074"/>
              <a:ext cx="457200" cy="457200"/>
            </a:xfrm>
            <a:prstGeom prst="rect">
              <a:avLst/>
            </a:prstGeom>
          </p:spPr>
        </p:pic>
        <p:pic>
          <p:nvPicPr>
            <p:cNvPr id="115" name="Picture 114">
              <a:extLst>
                <a:ext uri="{FF2B5EF4-FFF2-40B4-BE49-F238E27FC236}">
                  <a16:creationId xmlns:a16="http://schemas.microsoft.com/office/drawing/2014/main" id="{0127F4F0-73B8-0477-06F7-D3689E7EC87D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 l="14348" t="11657" r="15614" b="38039"/>
            <a:stretch/>
          </p:blipFill>
          <p:spPr>
            <a:xfrm>
              <a:off x="11275604" y="4120395"/>
              <a:ext cx="457200" cy="45720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6A0AE624-C0E7-8C8A-4324-A645C658077C}"/>
                </a:ext>
              </a:extLst>
            </p:cNvPr>
            <p:cNvSpPr txBox="1"/>
            <p:nvPr/>
          </p:nvSpPr>
          <p:spPr>
            <a:xfrm>
              <a:off x="11299913" y="4523173"/>
              <a:ext cx="38664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accent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E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F30BCDA8-52BF-2833-1D28-E45350E6B9E2}"/>
                </a:ext>
              </a:extLst>
            </p:cNvPr>
            <p:cNvSpPr txBox="1"/>
            <p:nvPr/>
          </p:nvSpPr>
          <p:spPr>
            <a:xfrm>
              <a:off x="11784516" y="4487989"/>
              <a:ext cx="40748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accent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B075BC5B-DE95-4015-EB9D-E2602E0F5CFA}"/>
                </a:ext>
              </a:extLst>
            </p:cNvPr>
            <p:cNvSpPr txBox="1"/>
            <p:nvPr/>
          </p:nvSpPr>
          <p:spPr>
            <a:xfrm>
              <a:off x="11467193" y="5037822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accent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88613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BC35D746-79B5-A4D7-DDDE-A1995A0075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668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53" name="Google Shape;1453;p10"/>
          <p:cNvSpPr/>
          <p:nvPr/>
        </p:nvSpPr>
        <p:spPr>
          <a:xfrm>
            <a:off x="827149" y="1458899"/>
            <a:ext cx="1997022" cy="1014395"/>
          </a:xfrm>
          <a:custGeom>
            <a:avLst/>
            <a:gdLst/>
            <a:ahLst/>
            <a:cxnLst/>
            <a:rect l="l" t="t" r="r" b="b"/>
            <a:pathLst>
              <a:path w="1997022" h="1014395" extrusionOk="0">
                <a:moveTo>
                  <a:pt x="998511" y="0"/>
                </a:moveTo>
                <a:cubicBezTo>
                  <a:pt x="1549973" y="0"/>
                  <a:pt x="1997022" y="447048"/>
                  <a:pt x="1997022" y="998510"/>
                </a:cubicBezTo>
                <a:lnTo>
                  <a:pt x="1996220" y="1014395"/>
                </a:lnTo>
                <a:lnTo>
                  <a:pt x="802" y="1014395"/>
                </a:lnTo>
                <a:lnTo>
                  <a:pt x="0" y="998510"/>
                </a:lnTo>
                <a:cubicBezTo>
                  <a:pt x="0" y="447048"/>
                  <a:pt x="447049" y="0"/>
                  <a:pt x="998511" y="0"/>
                </a:cubicBezTo>
                <a:close/>
              </a:path>
            </a:pathLst>
          </a:custGeom>
          <a:gradFill>
            <a:gsLst>
              <a:gs pos="0">
                <a:srgbClr val="E5E5E5"/>
              </a:gs>
              <a:gs pos="73000">
                <a:srgbClr val="F0F0F0">
                  <a:alpha val="47843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4" name="Google Shape;1454;p10"/>
          <p:cNvSpPr/>
          <p:nvPr/>
        </p:nvSpPr>
        <p:spPr>
          <a:xfrm>
            <a:off x="5338130" y="1447024"/>
            <a:ext cx="1997022" cy="1014395"/>
          </a:xfrm>
          <a:custGeom>
            <a:avLst/>
            <a:gdLst/>
            <a:ahLst/>
            <a:cxnLst/>
            <a:rect l="l" t="t" r="r" b="b"/>
            <a:pathLst>
              <a:path w="1997022" h="1014395" extrusionOk="0">
                <a:moveTo>
                  <a:pt x="998511" y="0"/>
                </a:moveTo>
                <a:cubicBezTo>
                  <a:pt x="1549973" y="0"/>
                  <a:pt x="1997022" y="447048"/>
                  <a:pt x="1997022" y="998510"/>
                </a:cubicBezTo>
                <a:lnTo>
                  <a:pt x="1996220" y="1014395"/>
                </a:lnTo>
                <a:lnTo>
                  <a:pt x="802" y="1014395"/>
                </a:lnTo>
                <a:lnTo>
                  <a:pt x="0" y="998510"/>
                </a:lnTo>
                <a:cubicBezTo>
                  <a:pt x="0" y="447048"/>
                  <a:pt x="447049" y="0"/>
                  <a:pt x="998511" y="0"/>
                </a:cubicBezTo>
                <a:close/>
              </a:path>
            </a:pathLst>
          </a:custGeom>
          <a:gradFill>
            <a:gsLst>
              <a:gs pos="0">
                <a:srgbClr val="E5E5E5"/>
              </a:gs>
              <a:gs pos="73000">
                <a:srgbClr val="F0F0F0">
                  <a:alpha val="47843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5" name="Google Shape;1455;p10"/>
          <p:cNvSpPr/>
          <p:nvPr/>
        </p:nvSpPr>
        <p:spPr>
          <a:xfrm>
            <a:off x="9460678" y="1447024"/>
            <a:ext cx="1997022" cy="1014395"/>
          </a:xfrm>
          <a:custGeom>
            <a:avLst/>
            <a:gdLst/>
            <a:ahLst/>
            <a:cxnLst/>
            <a:rect l="l" t="t" r="r" b="b"/>
            <a:pathLst>
              <a:path w="1997022" h="1014395" extrusionOk="0">
                <a:moveTo>
                  <a:pt x="998511" y="0"/>
                </a:moveTo>
                <a:cubicBezTo>
                  <a:pt x="1549973" y="0"/>
                  <a:pt x="1997022" y="447048"/>
                  <a:pt x="1997022" y="998510"/>
                </a:cubicBezTo>
                <a:lnTo>
                  <a:pt x="1996220" y="1014395"/>
                </a:lnTo>
                <a:lnTo>
                  <a:pt x="802" y="1014395"/>
                </a:lnTo>
                <a:lnTo>
                  <a:pt x="0" y="998510"/>
                </a:lnTo>
                <a:cubicBezTo>
                  <a:pt x="0" y="447048"/>
                  <a:pt x="447049" y="0"/>
                  <a:pt x="998511" y="0"/>
                </a:cubicBezTo>
                <a:close/>
              </a:path>
            </a:pathLst>
          </a:custGeom>
          <a:gradFill>
            <a:gsLst>
              <a:gs pos="0">
                <a:srgbClr val="E5E5E5"/>
              </a:gs>
              <a:gs pos="73000">
                <a:srgbClr val="F0F0F0">
                  <a:alpha val="47843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6" name="Google Shape;1456;p10"/>
          <p:cNvSpPr/>
          <p:nvPr/>
        </p:nvSpPr>
        <p:spPr>
          <a:xfrm>
            <a:off x="3535270" y="3289569"/>
            <a:ext cx="5643030" cy="3416068"/>
          </a:xfrm>
          <a:prstGeom prst="roundRect">
            <a:avLst>
              <a:gd name="adj" fmla="val 2870"/>
            </a:avLst>
          </a:prstGeom>
          <a:solidFill>
            <a:schemeClr val="accent1">
              <a:lumMod val="20000"/>
              <a:lumOff val="80000"/>
              <a:alpha val="60000"/>
            </a:schemeClr>
          </a:solidFill>
          <a:ln>
            <a:noFill/>
          </a:ln>
        </p:spPr>
        <p:txBody>
          <a:bodyPr spcFirstLastPara="1" wrap="square" lIns="0" tIns="37325" rIns="0" bIns="373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7" name="Google Shape;1457;p1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dirty="0"/>
              <a:t>Infomineo approach to helping you</a:t>
            </a:r>
            <a:endParaRPr dirty="0"/>
          </a:p>
        </p:txBody>
      </p:sp>
      <p:sp>
        <p:nvSpPr>
          <p:cNvPr id="1458" name="Google Shape;1458;p10"/>
          <p:cNvSpPr txBox="1"/>
          <p:nvPr/>
        </p:nvSpPr>
        <p:spPr>
          <a:xfrm>
            <a:off x="312019" y="3553056"/>
            <a:ext cx="1448398" cy="27679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Understanding client needs and objective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F47F2"/>
              </a:buClr>
              <a:buSzPts val="108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Get a deep understanding of the client objectives: </a:t>
            </a:r>
          </a:p>
          <a:p>
            <a:pPr marL="176213" marR="0" lvl="1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F47F2"/>
              </a:buClr>
              <a:buSzPts val="1080"/>
              <a:buFont typeface="Noto Sans Symbols"/>
              <a:buChar char="▪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Business questions to answer</a:t>
            </a:r>
          </a:p>
          <a:p>
            <a:pPr marL="176213" marR="0" lvl="1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F47F2"/>
              </a:buClr>
              <a:buSzPts val="1080"/>
              <a:buFont typeface="Noto Sans Symbols"/>
              <a:buChar char="▪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ssess available data, data needs if any, critical data elements to take care of</a:t>
            </a:r>
          </a:p>
          <a:p>
            <a:pPr marL="176213" marR="0" lvl="1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F47F2"/>
              </a:buClr>
              <a:buSzPts val="1080"/>
              <a:buFont typeface="Noto Sans Symbols"/>
              <a:buChar char="▪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lanned use of the analytics output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59" name="Google Shape;1459;p10"/>
          <p:cNvSpPr txBox="1"/>
          <p:nvPr/>
        </p:nvSpPr>
        <p:spPr>
          <a:xfrm>
            <a:off x="1895493" y="3553056"/>
            <a:ext cx="1260000" cy="2697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tructuring approach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F47F2"/>
              </a:buClr>
              <a:buSzPts val="1080"/>
              <a:buFont typeface="Noto Sans Symbols"/>
              <a:buChar char="▪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efine the best data analytics strategy to answer the client’s business objective</a:t>
            </a:r>
          </a:p>
          <a:p>
            <a:pPr marL="176213" marR="0" lvl="1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F47F2"/>
              </a:buClr>
              <a:buSzPts val="1080"/>
              <a:buFont typeface="Noto Sans Symbols"/>
              <a:buChar char="▪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stimate the time and type of analytics support needed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F47F2"/>
              </a:buClr>
              <a:buSzPts val="1080"/>
              <a:buFont typeface="Noto Sans Symbols"/>
              <a:buChar char="▪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gree on the desired type of output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0" name="Google Shape;1460;p10"/>
          <p:cNvSpPr txBox="1"/>
          <p:nvPr/>
        </p:nvSpPr>
        <p:spPr>
          <a:xfrm>
            <a:off x="3663377" y="3529306"/>
            <a:ext cx="1896405" cy="971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xecuting your</a:t>
            </a:r>
          </a:p>
          <a:p>
            <a:pPr marL="0" marR="0" lvl="1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Analytics project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44444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Leveraging a full range of analytics capabilitie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44444"/>
              </a:buClr>
              <a:buSzPts val="1200"/>
              <a:buFont typeface="Arial"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1" name="Google Shape;1461;p10"/>
          <p:cNvSpPr txBox="1"/>
          <p:nvPr/>
        </p:nvSpPr>
        <p:spPr>
          <a:xfrm>
            <a:off x="9289607" y="3534119"/>
            <a:ext cx="1121238" cy="21349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eriving</a:t>
            </a: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nsight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F47F2"/>
              </a:buClr>
              <a:buSzPts val="1080"/>
              <a:buFont typeface="Noto Sans Symbols"/>
              <a:buChar char="▪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erforming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n-depth quality assurance</a:t>
            </a:r>
          </a:p>
          <a:p>
            <a:pPr marL="176213" marR="0" lvl="1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F47F2"/>
              </a:buClr>
              <a:buSzPts val="1080"/>
              <a:buFont typeface="Noto Sans Symbols"/>
              <a:buChar char="▪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nalyzing data outputs to derive insights in line with the initial client ask</a:t>
            </a:r>
          </a:p>
        </p:txBody>
      </p:sp>
      <p:sp>
        <p:nvSpPr>
          <p:cNvPr id="1463" name="Google Shape;1463;p10"/>
          <p:cNvSpPr txBox="1"/>
          <p:nvPr/>
        </p:nvSpPr>
        <p:spPr>
          <a:xfrm>
            <a:off x="10516085" y="3541180"/>
            <a:ext cx="1422328" cy="18605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Handover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F47F2"/>
              </a:buClr>
              <a:buSzPts val="1080"/>
              <a:buFont typeface="Noto Sans Symbols"/>
              <a:buChar char="▪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resenting the approach, results and potential limitation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F47F2"/>
              </a:buClr>
              <a:buSzPts val="1080"/>
              <a:buFont typeface="Noto Sans Symbols"/>
              <a:buChar char="▪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haring all documentation and code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F47F2"/>
              </a:buClr>
              <a:buSzPts val="1080"/>
              <a:buFont typeface="Noto Sans Symbols"/>
              <a:buChar char="▪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Getting client feedback</a:t>
            </a:r>
          </a:p>
        </p:txBody>
      </p:sp>
      <p:sp>
        <p:nvSpPr>
          <p:cNvPr id="1464" name="Google Shape;1464;p10"/>
          <p:cNvSpPr/>
          <p:nvPr/>
        </p:nvSpPr>
        <p:spPr>
          <a:xfrm>
            <a:off x="1201585" y="2332335"/>
            <a:ext cx="1349647" cy="33855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72000" tIns="0" rIns="7200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ntake</a:t>
            </a:r>
            <a:endParaRPr kumimoji="0" sz="2200" b="1" i="0" u="none" strike="noStrike" kern="0" cap="none" spc="0" normalizeH="0" baseline="0" noProof="0">
              <a:ln>
                <a:noFill/>
              </a:ln>
              <a:solidFill>
                <a:srgbClr val="0F47F2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5" name="Google Shape;1465;p10"/>
          <p:cNvSpPr/>
          <p:nvPr/>
        </p:nvSpPr>
        <p:spPr>
          <a:xfrm>
            <a:off x="5692628" y="2320460"/>
            <a:ext cx="1288027" cy="33855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72000" tIns="0" rIns="7200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xecution</a:t>
            </a:r>
            <a:endParaRPr kumimoji="0" sz="2200" b="1" i="0" u="none" strike="noStrike" kern="0" cap="none" spc="0" normalizeH="0" baseline="0" noProof="0">
              <a:ln>
                <a:noFill/>
              </a:ln>
              <a:solidFill>
                <a:srgbClr val="0F47F2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6" name="Google Shape;1466;p10"/>
          <p:cNvSpPr/>
          <p:nvPr/>
        </p:nvSpPr>
        <p:spPr>
          <a:xfrm>
            <a:off x="9907789" y="2320460"/>
            <a:ext cx="1112209" cy="33855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72000" tIns="0" rIns="7200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elivery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467" name="Google Shape;1467;p10"/>
          <p:cNvGrpSpPr/>
          <p:nvPr/>
        </p:nvGrpSpPr>
        <p:grpSpPr>
          <a:xfrm>
            <a:off x="1530275" y="1642298"/>
            <a:ext cx="590770" cy="590768"/>
            <a:chOff x="2021329" y="1470497"/>
            <a:chExt cx="594555" cy="594555"/>
          </a:xfrm>
        </p:grpSpPr>
        <p:sp>
          <p:nvSpPr>
            <p:cNvPr id="1468" name="Google Shape;1468;p10"/>
            <p:cNvSpPr/>
            <p:nvPr/>
          </p:nvSpPr>
          <p:spPr>
            <a:xfrm>
              <a:off x="2568219" y="1786590"/>
              <a:ext cx="17560" cy="61046"/>
            </a:xfrm>
            <a:custGeom>
              <a:avLst/>
              <a:gdLst/>
              <a:ahLst/>
              <a:cxnLst/>
              <a:rect l="l" t="t" r="r" b="b"/>
              <a:pathLst>
                <a:path w="17560" h="61046" extrusionOk="0">
                  <a:moveTo>
                    <a:pt x="8780" y="0"/>
                  </a:moveTo>
                  <a:cubicBezTo>
                    <a:pt x="3934" y="-3"/>
                    <a:pt x="3" y="3924"/>
                    <a:pt x="0" y="8770"/>
                  </a:cubicBezTo>
                  <a:cubicBezTo>
                    <a:pt x="0" y="8774"/>
                    <a:pt x="0" y="8777"/>
                    <a:pt x="0" y="8780"/>
                  </a:cubicBezTo>
                  <a:lnTo>
                    <a:pt x="0" y="52266"/>
                  </a:lnTo>
                  <a:cubicBezTo>
                    <a:pt x="0" y="57115"/>
                    <a:pt x="3931" y="61046"/>
                    <a:pt x="8780" y="61046"/>
                  </a:cubicBezTo>
                  <a:cubicBezTo>
                    <a:pt x="13630" y="61046"/>
                    <a:pt x="17561" y="57115"/>
                    <a:pt x="17561" y="52266"/>
                  </a:cubicBezTo>
                  <a:lnTo>
                    <a:pt x="17561" y="8780"/>
                  </a:lnTo>
                  <a:cubicBezTo>
                    <a:pt x="17563" y="3934"/>
                    <a:pt x="13637" y="3"/>
                    <a:pt x="8790" y="0"/>
                  </a:cubicBezTo>
                  <a:cubicBezTo>
                    <a:pt x="8787" y="0"/>
                    <a:pt x="8784" y="0"/>
                    <a:pt x="8780" y="0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9" name="Google Shape;1469;p10"/>
            <p:cNvSpPr/>
            <p:nvPr/>
          </p:nvSpPr>
          <p:spPr>
            <a:xfrm>
              <a:off x="2021329" y="1470497"/>
              <a:ext cx="594555" cy="594555"/>
            </a:xfrm>
            <a:custGeom>
              <a:avLst/>
              <a:gdLst/>
              <a:ahLst/>
              <a:cxnLst/>
              <a:rect l="l" t="t" r="r" b="b"/>
              <a:pathLst>
                <a:path w="594555" h="594555" extrusionOk="0">
                  <a:moveTo>
                    <a:pt x="555671" y="0"/>
                  </a:moveTo>
                  <a:lnTo>
                    <a:pt x="38884" y="0"/>
                  </a:lnTo>
                  <a:cubicBezTo>
                    <a:pt x="17419" y="25"/>
                    <a:pt x="25" y="17419"/>
                    <a:pt x="0" y="38884"/>
                  </a:cubicBezTo>
                  <a:lnTo>
                    <a:pt x="0" y="466914"/>
                  </a:lnTo>
                  <a:cubicBezTo>
                    <a:pt x="25" y="488379"/>
                    <a:pt x="17419" y="505774"/>
                    <a:pt x="38884" y="505798"/>
                  </a:cubicBezTo>
                  <a:lnTo>
                    <a:pt x="88757" y="505798"/>
                  </a:lnTo>
                  <a:lnTo>
                    <a:pt x="88757" y="555671"/>
                  </a:lnTo>
                  <a:cubicBezTo>
                    <a:pt x="88782" y="577136"/>
                    <a:pt x="106176" y="594530"/>
                    <a:pt x="127641" y="594555"/>
                  </a:cubicBezTo>
                  <a:lnTo>
                    <a:pt x="466914" y="594555"/>
                  </a:lnTo>
                  <a:cubicBezTo>
                    <a:pt x="488379" y="594530"/>
                    <a:pt x="505774" y="577136"/>
                    <a:pt x="505798" y="555671"/>
                  </a:cubicBezTo>
                  <a:lnTo>
                    <a:pt x="505798" y="505798"/>
                  </a:lnTo>
                  <a:lnTo>
                    <a:pt x="555671" y="505798"/>
                  </a:lnTo>
                  <a:cubicBezTo>
                    <a:pt x="577136" y="505774"/>
                    <a:pt x="594530" y="488379"/>
                    <a:pt x="594555" y="466914"/>
                  </a:cubicBezTo>
                  <a:lnTo>
                    <a:pt x="594555" y="38884"/>
                  </a:lnTo>
                  <a:cubicBezTo>
                    <a:pt x="594530" y="17419"/>
                    <a:pt x="577136" y="25"/>
                    <a:pt x="555671" y="0"/>
                  </a:cubicBezTo>
                  <a:close/>
                  <a:moveTo>
                    <a:pt x="17561" y="38884"/>
                  </a:moveTo>
                  <a:cubicBezTo>
                    <a:pt x="17575" y="27113"/>
                    <a:pt x="27113" y="17575"/>
                    <a:pt x="38884" y="17561"/>
                  </a:cubicBezTo>
                  <a:lnTo>
                    <a:pt x="555671" y="17561"/>
                  </a:lnTo>
                  <a:cubicBezTo>
                    <a:pt x="567443" y="17572"/>
                    <a:pt x="576983" y="27112"/>
                    <a:pt x="576995" y="38884"/>
                  </a:cubicBezTo>
                  <a:lnTo>
                    <a:pt x="576995" y="60208"/>
                  </a:lnTo>
                  <a:lnTo>
                    <a:pt x="17561" y="60208"/>
                  </a:lnTo>
                  <a:close/>
                  <a:moveTo>
                    <a:pt x="288497" y="363903"/>
                  </a:moveTo>
                  <a:lnTo>
                    <a:pt x="247305" y="330603"/>
                  </a:lnTo>
                  <a:cubicBezTo>
                    <a:pt x="243557" y="327526"/>
                    <a:pt x="238024" y="328070"/>
                    <a:pt x="234947" y="331818"/>
                  </a:cubicBezTo>
                  <a:cubicBezTo>
                    <a:pt x="231870" y="335566"/>
                    <a:pt x="232414" y="341099"/>
                    <a:pt x="236162" y="344176"/>
                  </a:cubicBezTo>
                  <a:cubicBezTo>
                    <a:pt x="236197" y="344204"/>
                    <a:pt x="236232" y="344232"/>
                    <a:pt x="236267" y="344260"/>
                  </a:cubicBezTo>
                  <a:lnTo>
                    <a:pt x="291759" y="389120"/>
                  </a:lnTo>
                  <a:cubicBezTo>
                    <a:pt x="294981" y="391713"/>
                    <a:pt x="299574" y="391713"/>
                    <a:pt x="302797" y="389120"/>
                  </a:cubicBezTo>
                  <a:lnTo>
                    <a:pt x="358289" y="344260"/>
                  </a:lnTo>
                  <a:cubicBezTo>
                    <a:pt x="362083" y="341241"/>
                    <a:pt x="362712" y="335717"/>
                    <a:pt x="359692" y="331922"/>
                  </a:cubicBezTo>
                  <a:cubicBezTo>
                    <a:pt x="356673" y="328128"/>
                    <a:pt x="351149" y="327499"/>
                    <a:pt x="347355" y="330518"/>
                  </a:cubicBezTo>
                  <a:cubicBezTo>
                    <a:pt x="347320" y="330546"/>
                    <a:pt x="347285" y="330574"/>
                    <a:pt x="347250" y="330603"/>
                  </a:cubicBezTo>
                  <a:lnTo>
                    <a:pt x="306058" y="363903"/>
                  </a:lnTo>
                  <a:lnTo>
                    <a:pt x="306058" y="306058"/>
                  </a:lnTo>
                  <a:lnTo>
                    <a:pt x="466914" y="306058"/>
                  </a:lnTo>
                  <a:cubicBezTo>
                    <a:pt x="468451" y="306073"/>
                    <a:pt x="469982" y="306256"/>
                    <a:pt x="471480" y="306605"/>
                  </a:cubicBezTo>
                  <a:lnTo>
                    <a:pt x="297278" y="447397"/>
                  </a:lnTo>
                  <a:lnTo>
                    <a:pt x="123075" y="306605"/>
                  </a:lnTo>
                  <a:cubicBezTo>
                    <a:pt x="124573" y="306256"/>
                    <a:pt x="126104" y="306073"/>
                    <a:pt x="127641" y="306058"/>
                  </a:cubicBezTo>
                  <a:lnTo>
                    <a:pt x="288497" y="306058"/>
                  </a:lnTo>
                  <a:close/>
                  <a:moveTo>
                    <a:pt x="488238" y="555671"/>
                  </a:moveTo>
                  <a:cubicBezTo>
                    <a:pt x="488224" y="567442"/>
                    <a:pt x="478685" y="576981"/>
                    <a:pt x="466914" y="576995"/>
                  </a:cubicBezTo>
                  <a:lnTo>
                    <a:pt x="127641" y="576995"/>
                  </a:lnTo>
                  <a:cubicBezTo>
                    <a:pt x="115870" y="576981"/>
                    <a:pt x="106331" y="567442"/>
                    <a:pt x="106318" y="555671"/>
                  </a:cubicBezTo>
                  <a:lnTo>
                    <a:pt x="106318" y="327382"/>
                  </a:lnTo>
                  <a:cubicBezTo>
                    <a:pt x="106354" y="323985"/>
                    <a:pt x="107215" y="320648"/>
                    <a:pt x="108826" y="317658"/>
                  </a:cubicBezTo>
                  <a:lnTo>
                    <a:pt x="291759" y="465514"/>
                  </a:lnTo>
                  <a:cubicBezTo>
                    <a:pt x="294978" y="468116"/>
                    <a:pt x="299577" y="468116"/>
                    <a:pt x="302797" y="465514"/>
                  </a:cubicBezTo>
                  <a:lnTo>
                    <a:pt x="485749" y="317653"/>
                  </a:lnTo>
                  <a:cubicBezTo>
                    <a:pt x="487357" y="320646"/>
                    <a:pt x="488218" y="323984"/>
                    <a:pt x="488258" y="327382"/>
                  </a:cubicBezTo>
                  <a:close/>
                  <a:moveTo>
                    <a:pt x="555671" y="488238"/>
                  </a:moveTo>
                  <a:lnTo>
                    <a:pt x="505798" y="488238"/>
                  </a:lnTo>
                  <a:lnTo>
                    <a:pt x="505798" y="327382"/>
                  </a:lnTo>
                  <a:cubicBezTo>
                    <a:pt x="505783" y="316496"/>
                    <a:pt x="501193" y="306118"/>
                    <a:pt x="493150" y="298783"/>
                  </a:cubicBezTo>
                  <a:lnTo>
                    <a:pt x="492844" y="298522"/>
                  </a:lnTo>
                  <a:lnTo>
                    <a:pt x="492678" y="298386"/>
                  </a:lnTo>
                  <a:cubicBezTo>
                    <a:pt x="485609" y="292017"/>
                    <a:pt x="476430" y="288494"/>
                    <a:pt x="466914" y="288497"/>
                  </a:cubicBezTo>
                  <a:lnTo>
                    <a:pt x="306058" y="288497"/>
                  </a:lnTo>
                  <a:lnTo>
                    <a:pt x="306058" y="204457"/>
                  </a:lnTo>
                  <a:cubicBezTo>
                    <a:pt x="306058" y="199608"/>
                    <a:pt x="302127" y="195676"/>
                    <a:pt x="297278" y="195676"/>
                  </a:cubicBezTo>
                  <a:cubicBezTo>
                    <a:pt x="292428" y="195676"/>
                    <a:pt x="288497" y="199608"/>
                    <a:pt x="288497" y="204457"/>
                  </a:cubicBezTo>
                  <a:lnTo>
                    <a:pt x="288497" y="288497"/>
                  </a:lnTo>
                  <a:lnTo>
                    <a:pt x="127641" y="288497"/>
                  </a:lnTo>
                  <a:cubicBezTo>
                    <a:pt x="118121" y="288483"/>
                    <a:pt x="108935" y="292003"/>
                    <a:pt x="101862" y="298376"/>
                  </a:cubicBezTo>
                  <a:lnTo>
                    <a:pt x="101727" y="298492"/>
                  </a:lnTo>
                  <a:lnTo>
                    <a:pt x="101466" y="298708"/>
                  </a:lnTo>
                  <a:cubicBezTo>
                    <a:pt x="93384" y="306052"/>
                    <a:pt x="88771" y="316461"/>
                    <a:pt x="88757" y="327382"/>
                  </a:cubicBezTo>
                  <a:lnTo>
                    <a:pt x="88757" y="488238"/>
                  </a:lnTo>
                  <a:lnTo>
                    <a:pt x="38884" y="488238"/>
                  </a:lnTo>
                  <a:cubicBezTo>
                    <a:pt x="27113" y="488224"/>
                    <a:pt x="17575" y="478685"/>
                    <a:pt x="17561" y="466914"/>
                  </a:cubicBezTo>
                  <a:lnTo>
                    <a:pt x="17561" y="77769"/>
                  </a:lnTo>
                  <a:lnTo>
                    <a:pt x="576995" y="77769"/>
                  </a:lnTo>
                  <a:lnTo>
                    <a:pt x="576995" y="466914"/>
                  </a:lnTo>
                  <a:cubicBezTo>
                    <a:pt x="576981" y="478685"/>
                    <a:pt x="567442" y="488224"/>
                    <a:pt x="555671" y="488238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0" name="Google Shape;1470;p10"/>
            <p:cNvSpPr/>
            <p:nvPr/>
          </p:nvSpPr>
          <p:spPr>
            <a:xfrm>
              <a:off x="2478620" y="1501855"/>
              <a:ext cx="15052" cy="15052"/>
            </a:xfrm>
            <a:custGeom>
              <a:avLst/>
              <a:gdLst/>
              <a:ahLst/>
              <a:cxnLst/>
              <a:rect l="l" t="t" r="r" b="b"/>
              <a:pathLst>
                <a:path w="15052" h="15052" extrusionOk="0">
                  <a:moveTo>
                    <a:pt x="15052" y="7526"/>
                  </a:moveTo>
                  <a:cubicBezTo>
                    <a:pt x="15052" y="11683"/>
                    <a:pt x="11683" y="15052"/>
                    <a:pt x="7526" y="15052"/>
                  </a:cubicBezTo>
                  <a:cubicBezTo>
                    <a:pt x="3369" y="15052"/>
                    <a:pt x="0" y="11683"/>
                    <a:pt x="0" y="7526"/>
                  </a:cubicBezTo>
                  <a:cubicBezTo>
                    <a:pt x="0" y="3370"/>
                    <a:pt x="3369" y="0"/>
                    <a:pt x="7526" y="0"/>
                  </a:cubicBezTo>
                  <a:cubicBezTo>
                    <a:pt x="11683" y="0"/>
                    <a:pt x="15052" y="3370"/>
                    <a:pt x="15052" y="7526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1" name="Google Shape;1471;p10"/>
            <p:cNvSpPr/>
            <p:nvPr/>
          </p:nvSpPr>
          <p:spPr>
            <a:xfrm>
              <a:off x="2511232" y="1501855"/>
              <a:ext cx="15052" cy="15052"/>
            </a:xfrm>
            <a:custGeom>
              <a:avLst/>
              <a:gdLst/>
              <a:ahLst/>
              <a:cxnLst/>
              <a:rect l="l" t="t" r="r" b="b"/>
              <a:pathLst>
                <a:path w="15052" h="15052" extrusionOk="0">
                  <a:moveTo>
                    <a:pt x="15052" y="7526"/>
                  </a:moveTo>
                  <a:cubicBezTo>
                    <a:pt x="15052" y="11683"/>
                    <a:pt x="11683" y="15052"/>
                    <a:pt x="7526" y="15052"/>
                  </a:cubicBezTo>
                  <a:cubicBezTo>
                    <a:pt x="3369" y="15052"/>
                    <a:pt x="0" y="11683"/>
                    <a:pt x="0" y="7526"/>
                  </a:cubicBezTo>
                  <a:cubicBezTo>
                    <a:pt x="0" y="3370"/>
                    <a:pt x="3369" y="0"/>
                    <a:pt x="7526" y="0"/>
                  </a:cubicBezTo>
                  <a:cubicBezTo>
                    <a:pt x="11683" y="0"/>
                    <a:pt x="15052" y="3370"/>
                    <a:pt x="15052" y="7526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2" name="Google Shape;1472;p10"/>
            <p:cNvSpPr/>
            <p:nvPr/>
          </p:nvSpPr>
          <p:spPr>
            <a:xfrm>
              <a:off x="2543845" y="1501855"/>
              <a:ext cx="15052" cy="15052"/>
            </a:xfrm>
            <a:custGeom>
              <a:avLst/>
              <a:gdLst/>
              <a:ahLst/>
              <a:cxnLst/>
              <a:rect l="l" t="t" r="r" b="b"/>
              <a:pathLst>
                <a:path w="15052" h="15052" extrusionOk="0">
                  <a:moveTo>
                    <a:pt x="15052" y="7526"/>
                  </a:moveTo>
                  <a:cubicBezTo>
                    <a:pt x="15052" y="11683"/>
                    <a:pt x="11683" y="15052"/>
                    <a:pt x="7526" y="15052"/>
                  </a:cubicBezTo>
                  <a:cubicBezTo>
                    <a:pt x="3369" y="15052"/>
                    <a:pt x="0" y="11683"/>
                    <a:pt x="0" y="7526"/>
                  </a:cubicBezTo>
                  <a:cubicBezTo>
                    <a:pt x="0" y="3370"/>
                    <a:pt x="3369" y="0"/>
                    <a:pt x="7526" y="0"/>
                  </a:cubicBezTo>
                  <a:cubicBezTo>
                    <a:pt x="11683" y="0"/>
                    <a:pt x="15052" y="3370"/>
                    <a:pt x="15052" y="7526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473" name="Google Shape;1473;p10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140804" y="1589717"/>
            <a:ext cx="646179" cy="6461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474" name="Google Shape;1474;p10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020908" y="1589719"/>
            <a:ext cx="631466" cy="631466"/>
          </a:xfrm>
          <a:prstGeom prst="rect">
            <a:avLst/>
          </a:prstGeom>
          <a:noFill/>
          <a:ln>
            <a:noFill/>
          </a:ln>
        </p:spPr>
      </p:pic>
      <p:sp>
        <p:nvSpPr>
          <p:cNvPr id="1475" name="Google Shape;1475;p10"/>
          <p:cNvSpPr/>
          <p:nvPr/>
        </p:nvSpPr>
        <p:spPr>
          <a:xfrm rot="10800000" flipH="1">
            <a:off x="5814094" y="3014982"/>
            <a:ext cx="3370735" cy="315094"/>
          </a:xfrm>
          <a:custGeom>
            <a:avLst/>
            <a:gdLst/>
            <a:ahLst/>
            <a:cxnLst/>
            <a:rect l="l" t="t" r="r" b="b"/>
            <a:pathLst>
              <a:path w="417" h="133" extrusionOk="0">
                <a:moveTo>
                  <a:pt x="385" y="26"/>
                </a:moveTo>
                <a:cubicBezTo>
                  <a:pt x="364" y="0"/>
                  <a:pt x="364" y="0"/>
                  <a:pt x="364" y="0"/>
                </a:cubicBezTo>
                <a:cubicBezTo>
                  <a:pt x="364" y="26"/>
                  <a:pt x="364" y="26"/>
                  <a:pt x="364" y="26"/>
                </a:cubicBezTo>
                <a:cubicBezTo>
                  <a:pt x="194" y="26"/>
                  <a:pt x="194" y="26"/>
                  <a:pt x="194" y="26"/>
                </a:cubicBezTo>
                <a:cubicBezTo>
                  <a:pt x="166" y="26"/>
                  <a:pt x="166" y="26"/>
                  <a:pt x="166" y="26"/>
                </a:cubicBezTo>
                <a:cubicBezTo>
                  <a:pt x="136" y="52"/>
                  <a:pt x="102" y="73"/>
                  <a:pt x="65" y="88"/>
                </a:cubicBezTo>
                <a:cubicBezTo>
                  <a:pt x="48" y="95"/>
                  <a:pt x="24" y="101"/>
                  <a:pt x="0" y="106"/>
                </a:cubicBezTo>
                <a:cubicBezTo>
                  <a:pt x="69" y="106"/>
                  <a:pt x="69" y="106"/>
                  <a:pt x="69" y="106"/>
                </a:cubicBezTo>
                <a:cubicBezTo>
                  <a:pt x="364" y="106"/>
                  <a:pt x="364" y="106"/>
                  <a:pt x="364" y="106"/>
                </a:cubicBezTo>
                <a:cubicBezTo>
                  <a:pt x="364" y="133"/>
                  <a:pt x="364" y="133"/>
                  <a:pt x="364" y="133"/>
                </a:cubicBezTo>
                <a:cubicBezTo>
                  <a:pt x="385" y="106"/>
                  <a:pt x="385" y="106"/>
                  <a:pt x="385" y="106"/>
                </a:cubicBezTo>
                <a:cubicBezTo>
                  <a:pt x="417" y="66"/>
                  <a:pt x="417" y="66"/>
                  <a:pt x="417" y="66"/>
                </a:cubicBezTo>
                <a:lnTo>
                  <a:pt x="385" y="2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7" name="Google Shape;1477;p10"/>
          <p:cNvSpPr/>
          <p:nvPr/>
        </p:nvSpPr>
        <p:spPr>
          <a:xfrm rot="10800000" flipH="1">
            <a:off x="992580" y="3036806"/>
            <a:ext cx="775065" cy="308854"/>
          </a:xfrm>
          <a:custGeom>
            <a:avLst/>
            <a:gdLst/>
            <a:ahLst/>
            <a:cxnLst/>
            <a:rect l="l" t="t" r="r" b="b"/>
            <a:pathLst>
              <a:path w="10000" h="10000" extrusionOk="0">
                <a:moveTo>
                  <a:pt x="9042" y="1962"/>
                </a:moveTo>
                <a:lnTo>
                  <a:pt x="8424" y="0"/>
                </a:lnTo>
                <a:lnTo>
                  <a:pt x="8424" y="1962"/>
                </a:lnTo>
                <a:lnTo>
                  <a:pt x="0" y="1962"/>
                </a:lnTo>
                <a:lnTo>
                  <a:pt x="0" y="7975"/>
                </a:lnTo>
                <a:lnTo>
                  <a:pt x="8424" y="7975"/>
                </a:lnTo>
                <a:lnTo>
                  <a:pt x="8424" y="10000"/>
                </a:lnTo>
                <a:lnTo>
                  <a:pt x="9042" y="7975"/>
                </a:lnTo>
                <a:lnTo>
                  <a:pt x="10000" y="4968"/>
                </a:lnTo>
                <a:lnTo>
                  <a:pt x="9042" y="196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9" name="Google Shape;1479;p10"/>
          <p:cNvSpPr/>
          <p:nvPr/>
        </p:nvSpPr>
        <p:spPr>
          <a:xfrm rot="10800000" flipH="1">
            <a:off x="10197481" y="3005883"/>
            <a:ext cx="704251" cy="308854"/>
          </a:xfrm>
          <a:custGeom>
            <a:avLst/>
            <a:gdLst/>
            <a:ahLst/>
            <a:cxnLst/>
            <a:rect l="l" t="t" r="r" b="b"/>
            <a:pathLst>
              <a:path w="704251" h="308854" extrusionOk="0">
                <a:moveTo>
                  <a:pt x="582101" y="308854"/>
                </a:moveTo>
                <a:lnTo>
                  <a:pt x="630000" y="246311"/>
                </a:lnTo>
                <a:lnTo>
                  <a:pt x="704251" y="153439"/>
                </a:lnTo>
                <a:lnTo>
                  <a:pt x="630000" y="60597"/>
                </a:lnTo>
                <a:lnTo>
                  <a:pt x="582101" y="0"/>
                </a:lnTo>
                <a:lnTo>
                  <a:pt x="582101" y="60597"/>
                </a:lnTo>
                <a:lnTo>
                  <a:pt x="0" y="60597"/>
                </a:lnTo>
                <a:lnTo>
                  <a:pt x="0" y="246311"/>
                </a:lnTo>
                <a:lnTo>
                  <a:pt x="582101" y="246311"/>
                </a:lnTo>
                <a:lnTo>
                  <a:pt x="582101" y="30885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8" name="Google Shape;1488;p10"/>
          <p:cNvSpPr/>
          <p:nvPr/>
        </p:nvSpPr>
        <p:spPr>
          <a:xfrm rot="10800000" flipH="1">
            <a:off x="4140285" y="3077802"/>
            <a:ext cx="1303918" cy="185718"/>
          </a:xfrm>
          <a:custGeom>
            <a:avLst/>
            <a:gdLst/>
            <a:ahLst/>
            <a:cxnLst/>
            <a:rect l="l" t="t" r="r" b="b"/>
            <a:pathLst>
              <a:path w="10006" h="10000" extrusionOk="0">
                <a:moveTo>
                  <a:pt x="9992" y="10000"/>
                </a:moveTo>
                <a:cubicBezTo>
                  <a:pt x="10026" y="7376"/>
                  <a:pt x="9987" y="4129"/>
                  <a:pt x="9992" y="0"/>
                </a:cubicBezTo>
                <a:lnTo>
                  <a:pt x="0" y="0"/>
                </a:lnTo>
                <a:lnTo>
                  <a:pt x="0" y="10000"/>
                </a:lnTo>
                <a:lnTo>
                  <a:pt x="9992" y="1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89" name="Google Shape;1489;p10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425942" y="2949832"/>
            <a:ext cx="498358" cy="49835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90" name="Google Shape;1490;p10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842350" y="2911466"/>
            <a:ext cx="548990" cy="54899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91" name="Google Shape;1491;p10"/>
          <p:cNvGrpSpPr/>
          <p:nvPr/>
        </p:nvGrpSpPr>
        <p:grpSpPr>
          <a:xfrm>
            <a:off x="2397266" y="3036806"/>
            <a:ext cx="898166" cy="308854"/>
            <a:chOff x="2539766" y="3024931"/>
            <a:chExt cx="898166" cy="308854"/>
          </a:xfrm>
        </p:grpSpPr>
        <p:sp>
          <p:nvSpPr>
            <p:cNvPr id="1492" name="Google Shape;1492;p10"/>
            <p:cNvSpPr/>
            <p:nvPr/>
          </p:nvSpPr>
          <p:spPr>
            <a:xfrm rot="10800000" flipH="1">
              <a:off x="2662867" y="3024931"/>
              <a:ext cx="775065" cy="308854"/>
            </a:xfrm>
            <a:custGeom>
              <a:avLst/>
              <a:gdLst/>
              <a:ahLst/>
              <a:cxnLst/>
              <a:rect l="l" t="t" r="r" b="b"/>
              <a:pathLst>
                <a:path w="793" h="316" extrusionOk="0">
                  <a:moveTo>
                    <a:pt x="717" y="62"/>
                  </a:moveTo>
                  <a:lnTo>
                    <a:pt x="668" y="0"/>
                  </a:lnTo>
                  <a:lnTo>
                    <a:pt x="668" y="62"/>
                  </a:lnTo>
                  <a:lnTo>
                    <a:pt x="0" y="62"/>
                  </a:lnTo>
                  <a:lnTo>
                    <a:pt x="76" y="157"/>
                  </a:lnTo>
                  <a:lnTo>
                    <a:pt x="0" y="252"/>
                  </a:lnTo>
                  <a:lnTo>
                    <a:pt x="668" y="252"/>
                  </a:lnTo>
                  <a:lnTo>
                    <a:pt x="668" y="316"/>
                  </a:lnTo>
                  <a:lnTo>
                    <a:pt x="717" y="252"/>
                  </a:lnTo>
                  <a:lnTo>
                    <a:pt x="793" y="157"/>
                  </a:lnTo>
                  <a:lnTo>
                    <a:pt x="717" y="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3" name="Google Shape;1493;p10"/>
            <p:cNvSpPr/>
            <p:nvPr/>
          </p:nvSpPr>
          <p:spPr>
            <a:xfrm rot="10800000" flipH="1">
              <a:off x="2539766" y="3087474"/>
              <a:ext cx="653839" cy="185718"/>
            </a:xfrm>
            <a:custGeom>
              <a:avLst/>
              <a:gdLst/>
              <a:ahLst/>
              <a:cxnLst/>
              <a:rect l="l" t="t" r="r" b="b"/>
              <a:pathLst>
                <a:path w="10006" h="10000" extrusionOk="0">
                  <a:moveTo>
                    <a:pt x="9992" y="10000"/>
                  </a:moveTo>
                  <a:cubicBezTo>
                    <a:pt x="10026" y="7376"/>
                    <a:pt x="9987" y="4129"/>
                    <a:pt x="9992" y="0"/>
                  </a:cubicBezTo>
                  <a:lnTo>
                    <a:pt x="0" y="0"/>
                  </a:lnTo>
                  <a:lnTo>
                    <a:pt x="0" y="10000"/>
                  </a:lnTo>
                  <a:lnTo>
                    <a:pt x="9992" y="1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94" name="Google Shape;1494;p10"/>
          <p:cNvSpPr/>
          <p:nvPr/>
        </p:nvSpPr>
        <p:spPr>
          <a:xfrm rot="5400000">
            <a:off x="1729034" y="1372482"/>
            <a:ext cx="261792" cy="2871004"/>
          </a:xfrm>
          <a:prstGeom prst="leftBrace">
            <a:avLst>
              <a:gd name="adj1" fmla="val 0"/>
              <a:gd name="adj2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5" name="Google Shape;1495;p10"/>
          <p:cNvSpPr/>
          <p:nvPr/>
        </p:nvSpPr>
        <p:spPr>
          <a:xfrm rot="5400000">
            <a:off x="6166459" y="33993"/>
            <a:ext cx="294131" cy="5537522"/>
          </a:xfrm>
          <a:prstGeom prst="leftBrace">
            <a:avLst>
              <a:gd name="adj1" fmla="val 0"/>
              <a:gd name="adj2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6" name="Google Shape;1496;p10"/>
          <p:cNvSpPr/>
          <p:nvPr/>
        </p:nvSpPr>
        <p:spPr>
          <a:xfrm rot="5400000">
            <a:off x="10331249" y="1623570"/>
            <a:ext cx="256479" cy="2339765"/>
          </a:xfrm>
          <a:prstGeom prst="leftBrace">
            <a:avLst>
              <a:gd name="adj1" fmla="val 0"/>
              <a:gd name="adj2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97" name="Google Shape;1497;p10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9499584" y="2955603"/>
            <a:ext cx="518983" cy="5189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499" name="Google Shape;1499;p10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11019998" y="2970162"/>
            <a:ext cx="522548" cy="52254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E1167069-6D40-7AAF-5A96-70BB46380AFA}"/>
              </a:ext>
            </a:extLst>
          </p:cNvPr>
          <p:cNvGrpSpPr/>
          <p:nvPr/>
        </p:nvGrpSpPr>
        <p:grpSpPr>
          <a:xfrm>
            <a:off x="7056101" y="3077802"/>
            <a:ext cx="1988975" cy="1866801"/>
            <a:chOff x="7032356" y="3065927"/>
            <a:chExt cx="1988975" cy="1866801"/>
          </a:xfrm>
        </p:grpSpPr>
        <p:sp>
          <p:nvSpPr>
            <p:cNvPr id="1476" name="Google Shape;1476;p10"/>
            <p:cNvSpPr/>
            <p:nvPr/>
          </p:nvSpPr>
          <p:spPr>
            <a:xfrm rot="10800000" flipH="1">
              <a:off x="7032356" y="3065927"/>
              <a:ext cx="1988975" cy="1866801"/>
            </a:xfrm>
            <a:custGeom>
              <a:avLst/>
              <a:gdLst/>
              <a:ahLst/>
              <a:cxnLst/>
              <a:rect l="l" t="t" r="r" b="b"/>
              <a:pathLst>
                <a:path w="857" h="803" extrusionOk="0">
                  <a:moveTo>
                    <a:pt x="825" y="245"/>
                  </a:moveTo>
                  <a:cubicBezTo>
                    <a:pt x="805" y="197"/>
                    <a:pt x="776" y="155"/>
                    <a:pt x="739" y="118"/>
                  </a:cubicBezTo>
                  <a:cubicBezTo>
                    <a:pt x="702" y="81"/>
                    <a:pt x="659" y="52"/>
                    <a:pt x="611" y="31"/>
                  </a:cubicBezTo>
                  <a:cubicBezTo>
                    <a:pt x="562" y="11"/>
                    <a:pt x="509" y="0"/>
                    <a:pt x="455" y="0"/>
                  </a:cubicBezTo>
                  <a:cubicBezTo>
                    <a:pt x="401" y="0"/>
                    <a:pt x="348" y="11"/>
                    <a:pt x="299" y="31"/>
                  </a:cubicBezTo>
                  <a:cubicBezTo>
                    <a:pt x="251" y="52"/>
                    <a:pt x="208" y="81"/>
                    <a:pt x="171" y="118"/>
                  </a:cubicBezTo>
                  <a:cubicBezTo>
                    <a:pt x="134" y="155"/>
                    <a:pt x="105" y="197"/>
                    <a:pt x="85" y="245"/>
                  </a:cubicBezTo>
                  <a:cubicBezTo>
                    <a:pt x="65" y="291"/>
                    <a:pt x="55" y="340"/>
                    <a:pt x="53" y="389"/>
                  </a:cubicBezTo>
                  <a:cubicBezTo>
                    <a:pt x="53" y="389"/>
                    <a:pt x="53" y="389"/>
                    <a:pt x="53" y="389"/>
                  </a:cubicBezTo>
                  <a:cubicBezTo>
                    <a:pt x="53" y="393"/>
                    <a:pt x="53" y="397"/>
                    <a:pt x="53" y="401"/>
                  </a:cubicBezTo>
                  <a:cubicBezTo>
                    <a:pt x="53" y="456"/>
                    <a:pt x="64" y="508"/>
                    <a:pt x="85" y="558"/>
                  </a:cubicBezTo>
                  <a:cubicBezTo>
                    <a:pt x="105" y="606"/>
                    <a:pt x="134" y="649"/>
                    <a:pt x="171" y="686"/>
                  </a:cubicBezTo>
                  <a:cubicBezTo>
                    <a:pt x="180" y="694"/>
                    <a:pt x="189" y="703"/>
                    <a:pt x="199" y="711"/>
                  </a:cubicBezTo>
                  <a:cubicBezTo>
                    <a:pt x="369" y="711"/>
                    <a:pt x="369" y="711"/>
                    <a:pt x="369" y="711"/>
                  </a:cubicBezTo>
                  <a:cubicBezTo>
                    <a:pt x="233" y="673"/>
                    <a:pt x="134" y="549"/>
                    <a:pt x="134" y="401"/>
                  </a:cubicBezTo>
                  <a:cubicBezTo>
                    <a:pt x="134" y="397"/>
                    <a:pt x="134" y="393"/>
                    <a:pt x="134" y="389"/>
                  </a:cubicBezTo>
                  <a:cubicBezTo>
                    <a:pt x="134" y="389"/>
                    <a:pt x="134" y="389"/>
                    <a:pt x="134" y="389"/>
                  </a:cubicBezTo>
                  <a:cubicBezTo>
                    <a:pt x="141" y="218"/>
                    <a:pt x="282" y="81"/>
                    <a:pt x="455" y="81"/>
                  </a:cubicBezTo>
                  <a:cubicBezTo>
                    <a:pt x="632" y="81"/>
                    <a:pt x="776" y="225"/>
                    <a:pt x="776" y="402"/>
                  </a:cubicBezTo>
                  <a:cubicBezTo>
                    <a:pt x="776" y="579"/>
                    <a:pt x="632" y="723"/>
                    <a:pt x="455" y="723"/>
                  </a:cubicBezTo>
                  <a:cubicBezTo>
                    <a:pt x="455" y="723"/>
                    <a:pt x="455" y="723"/>
                    <a:pt x="455" y="723"/>
                  </a:cubicBezTo>
                  <a:cubicBezTo>
                    <a:pt x="0" y="723"/>
                    <a:pt x="0" y="723"/>
                    <a:pt x="0" y="723"/>
                  </a:cubicBezTo>
                  <a:cubicBezTo>
                    <a:pt x="32" y="763"/>
                    <a:pt x="32" y="763"/>
                    <a:pt x="32" y="76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455" y="803"/>
                    <a:pt x="455" y="803"/>
                    <a:pt x="455" y="803"/>
                  </a:cubicBezTo>
                  <a:cubicBezTo>
                    <a:pt x="455" y="803"/>
                    <a:pt x="562" y="793"/>
                    <a:pt x="612" y="772"/>
                  </a:cubicBezTo>
                  <a:cubicBezTo>
                    <a:pt x="659" y="752"/>
                    <a:pt x="702" y="723"/>
                    <a:pt x="739" y="686"/>
                  </a:cubicBezTo>
                  <a:cubicBezTo>
                    <a:pt x="776" y="649"/>
                    <a:pt x="805" y="606"/>
                    <a:pt x="825" y="558"/>
                  </a:cubicBezTo>
                  <a:cubicBezTo>
                    <a:pt x="846" y="509"/>
                    <a:pt x="857" y="456"/>
                    <a:pt x="857" y="402"/>
                  </a:cubicBezTo>
                  <a:cubicBezTo>
                    <a:pt x="857" y="348"/>
                    <a:pt x="846" y="295"/>
                    <a:pt x="825" y="24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480" name="Google Shape;1480;p10"/>
            <p:cNvGrpSpPr/>
            <p:nvPr/>
          </p:nvGrpSpPr>
          <p:grpSpPr>
            <a:xfrm>
              <a:off x="7251008" y="3270571"/>
              <a:ext cx="1551670" cy="1539882"/>
              <a:chOff x="7285038" y="6072188"/>
              <a:chExt cx="3084131" cy="3060700"/>
            </a:xfrm>
          </p:grpSpPr>
          <p:sp>
            <p:nvSpPr>
              <p:cNvPr id="1481" name="Google Shape;1481;p10"/>
              <p:cNvSpPr/>
              <p:nvPr/>
            </p:nvSpPr>
            <p:spPr>
              <a:xfrm>
                <a:off x="8918576" y="6072188"/>
                <a:ext cx="1450593" cy="2143125"/>
              </a:xfrm>
              <a:custGeom>
                <a:avLst/>
                <a:gdLst/>
                <a:ahLst/>
                <a:cxnLst/>
                <a:rect l="l" t="t" r="r" b="b"/>
                <a:pathLst>
                  <a:path w="15000" h="22500" extrusionOk="0">
                    <a:moveTo>
                      <a:pt x="0" y="0"/>
                    </a:moveTo>
                    <a:cubicBezTo>
                      <a:pt x="8284" y="0"/>
                      <a:pt x="15000" y="6716"/>
                      <a:pt x="15000" y="15000"/>
                    </a:cubicBezTo>
                    <a:cubicBezTo>
                      <a:pt x="15000" y="17633"/>
                      <a:pt x="14307" y="20220"/>
                      <a:pt x="12990" y="22500"/>
                    </a:cubicBezTo>
                    <a:lnTo>
                      <a:pt x="0" y="15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2857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2" name="Google Shape;1482;p10"/>
              <p:cNvSpPr/>
              <p:nvPr/>
            </p:nvSpPr>
            <p:spPr>
              <a:xfrm>
                <a:off x="7680325" y="7500938"/>
                <a:ext cx="2476500" cy="1631950"/>
              </a:xfrm>
              <a:custGeom>
                <a:avLst/>
                <a:gdLst/>
                <a:ahLst/>
                <a:cxnLst/>
                <a:rect l="l" t="t" r="r" b="b"/>
                <a:pathLst>
                  <a:path w="12990" h="8566" extrusionOk="0">
                    <a:moveTo>
                      <a:pt x="12990" y="3750"/>
                    </a:moveTo>
                    <a:cubicBezTo>
                      <a:pt x="10919" y="7337"/>
                      <a:pt x="6332" y="8566"/>
                      <a:pt x="2745" y="6495"/>
                    </a:cubicBezTo>
                    <a:cubicBezTo>
                      <a:pt x="1605" y="5837"/>
                      <a:pt x="658" y="4890"/>
                      <a:pt x="0" y="3750"/>
                    </a:cubicBezTo>
                    <a:lnTo>
                      <a:pt x="6495" y="0"/>
                    </a:lnTo>
                    <a:lnTo>
                      <a:pt x="12990" y="3750"/>
                    </a:lnTo>
                    <a:close/>
                  </a:path>
                </a:pathLst>
              </a:custGeom>
              <a:solidFill>
                <a:schemeClr val="bg2"/>
              </a:solidFill>
              <a:ln w="2857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3" name="Google Shape;1483;p10"/>
              <p:cNvSpPr/>
              <p:nvPr/>
            </p:nvSpPr>
            <p:spPr>
              <a:xfrm>
                <a:off x="7285038" y="6072188"/>
                <a:ext cx="1633537" cy="2143125"/>
              </a:xfrm>
              <a:custGeom>
                <a:avLst/>
                <a:gdLst/>
                <a:ahLst/>
                <a:cxnLst/>
                <a:rect l="l" t="t" r="r" b="b"/>
                <a:pathLst>
                  <a:path w="17133" h="22500" extrusionOk="0">
                    <a:moveTo>
                      <a:pt x="4142" y="22500"/>
                    </a:moveTo>
                    <a:cubicBezTo>
                      <a:pt x="0" y="15325"/>
                      <a:pt x="2458" y="6152"/>
                      <a:pt x="9633" y="2009"/>
                    </a:cubicBezTo>
                    <a:cubicBezTo>
                      <a:pt x="11913" y="693"/>
                      <a:pt x="14500" y="0"/>
                      <a:pt x="17133" y="0"/>
                    </a:cubicBezTo>
                    <a:lnTo>
                      <a:pt x="17133" y="15000"/>
                    </a:lnTo>
                    <a:lnTo>
                      <a:pt x="4142" y="22500"/>
                    </a:lnTo>
                    <a:close/>
                  </a:path>
                </a:pathLst>
              </a:custGeom>
              <a:solidFill>
                <a:schemeClr val="bg2"/>
              </a:solidFill>
              <a:ln w="2857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484" name="Google Shape;1484;p10"/>
            <p:cNvSpPr txBox="1"/>
            <p:nvPr/>
          </p:nvSpPr>
          <p:spPr>
            <a:xfrm>
              <a:off x="7404540" y="3613837"/>
              <a:ext cx="697346" cy="43627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Business &amp; Data Unde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standing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5" name="Google Shape;1485;p10"/>
            <p:cNvSpPr txBox="1"/>
            <p:nvPr/>
          </p:nvSpPr>
          <p:spPr>
            <a:xfrm>
              <a:off x="8120595" y="3659236"/>
              <a:ext cx="620932" cy="3877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1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080"/>
                <a:buFont typeface="Noto Sans Symbols"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Agile Metho</a:t>
              </a:r>
            </a:p>
            <a:p>
              <a:pPr marL="0" marR="0" lvl="1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080"/>
                <a:buFont typeface="Noto Sans Symbols"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dology</a:t>
              </a:r>
              <a:endParaRPr kumimoji="0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" name="Google Shape;1485;p10">
              <a:extLst>
                <a:ext uri="{FF2B5EF4-FFF2-40B4-BE49-F238E27FC236}">
                  <a16:creationId xmlns:a16="http://schemas.microsoft.com/office/drawing/2014/main" id="{9C25C3BD-A827-CEB0-A866-F5B9FF670735}"/>
                </a:ext>
              </a:extLst>
            </p:cNvPr>
            <p:cNvSpPr txBox="1"/>
            <p:nvPr/>
          </p:nvSpPr>
          <p:spPr>
            <a:xfrm>
              <a:off x="7608629" y="4269546"/>
              <a:ext cx="952556" cy="2585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1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080"/>
                <a:buFont typeface="Noto Sans Symbols"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Delivery Management</a:t>
              </a:r>
              <a:endParaRPr kumimoji="0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226CE38A-E543-9603-3466-B02484C06325}"/>
              </a:ext>
            </a:extLst>
          </p:cNvPr>
          <p:cNvSpPr txBox="1"/>
          <p:nvPr/>
        </p:nvSpPr>
        <p:spPr>
          <a:xfrm>
            <a:off x="5478256" y="3429350"/>
            <a:ext cx="1685190" cy="28156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1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F47F2"/>
              </a:buClr>
              <a:buSzPts val="1080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2. Analyze</a:t>
            </a:r>
          </a:p>
          <a:p>
            <a:pPr marR="0" lvl="1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F47F2"/>
              </a:buClr>
              <a:buSzPts val="1080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xplore &amp; Visualize</a:t>
            </a:r>
          </a:p>
          <a:p>
            <a:pPr marL="268288" indent="-134938">
              <a:lnSpc>
                <a:spcPct val="90000"/>
              </a:lnSpc>
              <a:buClr>
                <a:srgbClr val="0F47F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rgbClr val="444444"/>
                </a:solidFill>
                <a:latin typeface="Calibri"/>
                <a:ea typeface="Calibri"/>
                <a:cs typeface="Calibri"/>
                <a:sym typeface="Calibri"/>
              </a:rPr>
              <a:t>Descriptive analysis </a:t>
            </a:r>
          </a:p>
          <a:p>
            <a:pPr marL="268288" indent="-134938">
              <a:lnSpc>
                <a:spcPct val="90000"/>
              </a:lnSpc>
              <a:buClr>
                <a:srgbClr val="0F47F2"/>
              </a:buClr>
              <a:buSzPts val="1200"/>
              <a:buFont typeface="Calibri"/>
              <a:buChar char="−"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dentification of KPIs </a:t>
            </a:r>
          </a:p>
          <a:p>
            <a:pPr marL="268288" indent="-134938">
              <a:lnSpc>
                <a:spcPct val="90000"/>
              </a:lnSpc>
              <a:buClr>
                <a:srgbClr val="0F47F2"/>
              </a:buClr>
              <a:buSzPts val="1200"/>
              <a:buFont typeface="Calibri"/>
              <a:buChar char="−"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Reporting, Dashboards</a:t>
            </a:r>
          </a:p>
          <a:p>
            <a:pPr marL="268288" indent="-134938">
              <a:lnSpc>
                <a:spcPct val="90000"/>
              </a:lnSpc>
              <a:buClr>
                <a:srgbClr val="0F47F2"/>
              </a:buClr>
              <a:buSzPts val="1200"/>
              <a:buFont typeface="Calibri"/>
              <a:buChar char="−"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“Story-telling”</a:t>
            </a:r>
          </a:p>
          <a:p>
            <a:pPr marR="0" lvl="1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080"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R="0" lvl="1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080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odeling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268288" lvl="1" indent="-134938">
              <a:lnSpc>
                <a:spcPct val="90000"/>
              </a:lnSpc>
              <a:buClr>
                <a:srgbClr val="0F47F2"/>
              </a:buClr>
              <a:buSzPts val="1200"/>
              <a:buFont typeface="Calibri"/>
              <a:buChar char="−"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lgorithms to answer business question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Arial"/>
            </a:endParaRPr>
          </a:p>
          <a:p>
            <a:pPr marL="268288" lvl="1" indent="-134938">
              <a:lnSpc>
                <a:spcPct val="90000"/>
              </a:lnSpc>
              <a:buClr>
                <a:srgbClr val="0F47F2"/>
              </a:buClr>
              <a:buSzPts val="1200"/>
              <a:buFont typeface="Calibri"/>
              <a:buChar char="−"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valuation and validation of the algorithm</a:t>
            </a:r>
          </a:p>
        </p:txBody>
      </p:sp>
      <p:sp>
        <p:nvSpPr>
          <p:cNvPr id="5" name="Google Shape;1400;p8">
            <a:extLst>
              <a:ext uri="{FF2B5EF4-FFF2-40B4-BE49-F238E27FC236}">
                <a16:creationId xmlns:a16="http://schemas.microsoft.com/office/drawing/2014/main" id="{FBF1FD8F-FF94-B39F-7C04-590AB4DD0B1B}"/>
              </a:ext>
            </a:extLst>
          </p:cNvPr>
          <p:cNvSpPr txBox="1"/>
          <p:nvPr/>
        </p:nvSpPr>
        <p:spPr>
          <a:xfrm>
            <a:off x="10976464" y="292682"/>
            <a:ext cx="533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  <a:t>Analytic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F47F2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9AFCC96-BE83-542B-9CCC-87080BB160F3}"/>
              </a:ext>
            </a:extLst>
          </p:cNvPr>
          <p:cNvGrpSpPr/>
          <p:nvPr/>
        </p:nvGrpSpPr>
        <p:grpSpPr>
          <a:xfrm>
            <a:off x="11557889" y="135255"/>
            <a:ext cx="468744" cy="468742"/>
            <a:chOff x="11706853" y="287655"/>
            <a:chExt cx="468744" cy="468742"/>
          </a:xfrm>
        </p:grpSpPr>
        <p:sp>
          <p:nvSpPr>
            <p:cNvPr id="7" name="Google Shape;1401;p8">
              <a:extLst>
                <a:ext uri="{FF2B5EF4-FFF2-40B4-BE49-F238E27FC236}">
                  <a16:creationId xmlns:a16="http://schemas.microsoft.com/office/drawing/2014/main" id="{DBC55637-64F3-FE48-3197-779EE0DFB763}"/>
                </a:ext>
              </a:extLst>
            </p:cNvPr>
            <p:cNvSpPr/>
            <p:nvPr/>
          </p:nvSpPr>
          <p:spPr>
            <a:xfrm>
              <a:off x="11706853" y="287655"/>
              <a:ext cx="468744" cy="46874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  <a:tabLst/>
                <a:defRPr/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5781A32-B104-0582-4EE6-EBD87CB9F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lum bright="70000" contrast="-70000"/>
              <a:alphaModFix/>
            </a:blip>
            <a:stretch>
              <a:fillRect/>
            </a:stretch>
          </p:blipFill>
          <p:spPr>
            <a:xfrm>
              <a:off x="11795074" y="375875"/>
              <a:ext cx="292302" cy="292302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1747BE8D-D81A-1367-4689-8CBF95E5F43C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/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610028" y="2961242"/>
            <a:ext cx="450886" cy="450886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B033B2A-8E11-D1F8-4DAE-A12DEB734DC0}"/>
              </a:ext>
            </a:extLst>
          </p:cNvPr>
          <p:cNvSpPr txBox="1"/>
          <p:nvPr/>
        </p:nvSpPr>
        <p:spPr>
          <a:xfrm>
            <a:off x="7342804" y="5137387"/>
            <a:ext cx="1657479" cy="1217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lnSpc>
                <a:spcPct val="90000"/>
              </a:lnSpc>
              <a:spcBef>
                <a:spcPts val="500"/>
              </a:spcBef>
              <a:buClr>
                <a:srgbClr val="0F47F2"/>
              </a:buClr>
              <a:buSzPts val="1080"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3. Deploy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F47F2"/>
              </a:buClr>
              <a:buSzPts val="1080"/>
              <a:buFont typeface="Noto Sans Symbols"/>
              <a:buChar char="▪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ntegrating models and scaling with clients’ IT Teams</a:t>
            </a:r>
          </a:p>
          <a:p>
            <a:pPr marL="176213" marR="0" lvl="1" indent="-176213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F47F2"/>
              </a:buClr>
              <a:buSzPts val="1080"/>
              <a:buFont typeface="Noto Sans Symbols"/>
              <a:buChar char="▪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erforming regular model maintenanc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DCAFD49-6842-E5DC-47CE-E9A7DC00E672}"/>
              </a:ext>
            </a:extLst>
          </p:cNvPr>
          <p:cNvSpPr txBox="1"/>
          <p:nvPr/>
        </p:nvSpPr>
        <p:spPr>
          <a:xfrm>
            <a:off x="3516481" y="4503155"/>
            <a:ext cx="1988976" cy="2086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F47F2"/>
              </a:buClr>
              <a:buSzPts val="108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1. Acquire &amp; Prepare</a:t>
            </a:r>
          </a:p>
          <a:p>
            <a:pPr marL="268288" marR="0" lvl="2" indent="-1349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00"/>
              <a:buFont typeface="Calibri"/>
              <a:buChar char="−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dentifying Data Sources</a:t>
            </a:r>
          </a:p>
          <a:p>
            <a:pPr marL="268288" marR="0" lvl="2" indent="-1349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00"/>
              <a:buFont typeface="Calibri"/>
              <a:buChar char="−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xtracting and Transferring Data</a:t>
            </a:r>
          </a:p>
          <a:p>
            <a:pPr marL="268288" marR="0" lvl="2" indent="-1349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00"/>
              <a:buFont typeface="Calibri"/>
              <a:buChar char="−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etadata &amp; Dictionaries</a:t>
            </a:r>
          </a:p>
          <a:p>
            <a:pPr marL="268288" marR="0" lvl="2" indent="-1349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00"/>
              <a:buFont typeface="Calibri"/>
              <a:buChar char="−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erging of various data sources / Adding new data</a:t>
            </a:r>
          </a:p>
          <a:p>
            <a:pPr marL="268288" marR="0" lvl="2" indent="-1349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00"/>
              <a:buFont typeface="Calibri"/>
              <a:buChar char="−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ssessing Data Quality, handling outliers</a:t>
            </a:r>
          </a:p>
          <a:p>
            <a:pPr marL="268288" marR="0" lvl="2" indent="-1349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00"/>
              <a:buFont typeface="Calibri"/>
              <a:buChar char="−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Restructuring Data for analysis</a:t>
            </a:r>
          </a:p>
        </p:txBody>
      </p:sp>
      <p:sp>
        <p:nvSpPr>
          <p:cNvPr id="18" name="Google Shape;1488;p10">
            <a:extLst>
              <a:ext uri="{FF2B5EF4-FFF2-40B4-BE49-F238E27FC236}">
                <a16:creationId xmlns:a16="http://schemas.microsoft.com/office/drawing/2014/main" id="{C5C667F9-A5E7-A9E9-7663-055934A6AD32}"/>
              </a:ext>
            </a:extLst>
          </p:cNvPr>
          <p:cNvSpPr/>
          <p:nvPr/>
        </p:nvSpPr>
        <p:spPr>
          <a:xfrm rot="10800000" flipH="1">
            <a:off x="5181250" y="3077803"/>
            <a:ext cx="2011680" cy="185718"/>
          </a:xfrm>
          <a:custGeom>
            <a:avLst/>
            <a:gdLst/>
            <a:ahLst/>
            <a:cxnLst/>
            <a:rect l="l" t="t" r="r" b="b"/>
            <a:pathLst>
              <a:path w="10006" h="10000" extrusionOk="0">
                <a:moveTo>
                  <a:pt x="9992" y="10000"/>
                </a:moveTo>
                <a:cubicBezTo>
                  <a:pt x="10026" y="7376"/>
                  <a:pt x="9987" y="4129"/>
                  <a:pt x="9992" y="0"/>
                </a:cubicBezTo>
                <a:lnTo>
                  <a:pt x="0" y="0"/>
                </a:lnTo>
                <a:lnTo>
                  <a:pt x="0" y="10000"/>
                </a:lnTo>
                <a:lnTo>
                  <a:pt x="9992" y="1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902226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26DEB3-3265-216D-7BC6-01475BCAF0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8939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26DEB3-3265-216D-7BC6-01475BCAF0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0" name="Google Shape;1410;p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dirty="0"/>
              <a:t>Infomineo can handle all steps of a Data Use Case</a:t>
            </a:r>
            <a:endParaRPr dirty="0"/>
          </a:p>
        </p:txBody>
      </p:sp>
      <p:sp>
        <p:nvSpPr>
          <p:cNvPr id="3" name="Google Shape;1400;p8">
            <a:extLst>
              <a:ext uri="{FF2B5EF4-FFF2-40B4-BE49-F238E27FC236}">
                <a16:creationId xmlns:a16="http://schemas.microsoft.com/office/drawing/2014/main" id="{09B7420E-07FF-5A01-0077-413D903814B3}"/>
              </a:ext>
            </a:extLst>
          </p:cNvPr>
          <p:cNvSpPr txBox="1"/>
          <p:nvPr/>
        </p:nvSpPr>
        <p:spPr>
          <a:xfrm>
            <a:off x="10976464" y="292682"/>
            <a:ext cx="533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  <a:t>Analytic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F47F2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BEF7809-1304-BB3B-8466-062E965920D1}"/>
              </a:ext>
            </a:extLst>
          </p:cNvPr>
          <p:cNvGrpSpPr/>
          <p:nvPr/>
        </p:nvGrpSpPr>
        <p:grpSpPr>
          <a:xfrm>
            <a:off x="11557889" y="135255"/>
            <a:ext cx="468744" cy="468742"/>
            <a:chOff x="11706853" y="287655"/>
            <a:chExt cx="468744" cy="468742"/>
          </a:xfrm>
        </p:grpSpPr>
        <p:sp>
          <p:nvSpPr>
            <p:cNvPr id="6" name="Google Shape;1401;p8">
              <a:extLst>
                <a:ext uri="{FF2B5EF4-FFF2-40B4-BE49-F238E27FC236}">
                  <a16:creationId xmlns:a16="http://schemas.microsoft.com/office/drawing/2014/main" id="{45037A39-E961-9573-1D46-AE6362AE12DD}"/>
                </a:ext>
              </a:extLst>
            </p:cNvPr>
            <p:cNvSpPr/>
            <p:nvPr/>
          </p:nvSpPr>
          <p:spPr>
            <a:xfrm>
              <a:off x="11706853" y="287655"/>
              <a:ext cx="468744" cy="46874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  <a:tabLst/>
                <a:defRPr/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D00EA03-4E69-E82D-B336-107B61E9682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lum bright="70000" contrast="-70000"/>
              <a:alphaModFix/>
            </a:blip>
            <a:stretch>
              <a:fillRect/>
            </a:stretch>
          </p:blipFill>
          <p:spPr>
            <a:xfrm>
              <a:off x="11795074" y="375875"/>
              <a:ext cx="292302" cy="29230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66" name="Google Shape;365;p1">
            <a:extLst>
              <a:ext uri="{FF2B5EF4-FFF2-40B4-BE49-F238E27FC236}">
                <a16:creationId xmlns:a16="http://schemas.microsoft.com/office/drawing/2014/main" id="{D2B66373-A569-0AEA-B47D-0B3E7CB4BAD3}"/>
              </a:ext>
            </a:extLst>
          </p:cNvPr>
          <p:cNvSpPr/>
          <p:nvPr/>
        </p:nvSpPr>
        <p:spPr>
          <a:xfrm>
            <a:off x="4619136" y="2511551"/>
            <a:ext cx="1371600" cy="429957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7" name="Google Shape;363;p1">
            <a:extLst>
              <a:ext uri="{FF2B5EF4-FFF2-40B4-BE49-F238E27FC236}">
                <a16:creationId xmlns:a16="http://schemas.microsoft.com/office/drawing/2014/main" id="{FCAA9AEB-9D70-946A-FFF6-E1E30A02C28B}"/>
              </a:ext>
            </a:extLst>
          </p:cNvPr>
          <p:cNvSpPr/>
          <p:nvPr/>
        </p:nvSpPr>
        <p:spPr>
          <a:xfrm>
            <a:off x="10559959" y="2504385"/>
            <a:ext cx="1371600" cy="429957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8" name="Google Shape;364;p1">
            <a:extLst>
              <a:ext uri="{FF2B5EF4-FFF2-40B4-BE49-F238E27FC236}">
                <a16:creationId xmlns:a16="http://schemas.microsoft.com/office/drawing/2014/main" id="{68600990-2F7D-3D9A-DC2E-FFC6EAB49132}"/>
              </a:ext>
            </a:extLst>
          </p:cNvPr>
          <p:cNvSpPr/>
          <p:nvPr/>
        </p:nvSpPr>
        <p:spPr>
          <a:xfrm>
            <a:off x="7687397" y="2504385"/>
            <a:ext cx="2743200" cy="429957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9" name="Google Shape;365;p1">
            <a:extLst>
              <a:ext uri="{FF2B5EF4-FFF2-40B4-BE49-F238E27FC236}">
                <a16:creationId xmlns:a16="http://schemas.microsoft.com/office/drawing/2014/main" id="{DFB5F87B-AE18-DFC7-DC36-01021C7D59D1}"/>
              </a:ext>
            </a:extLst>
          </p:cNvPr>
          <p:cNvSpPr/>
          <p:nvPr/>
        </p:nvSpPr>
        <p:spPr>
          <a:xfrm>
            <a:off x="6246321" y="2504385"/>
            <a:ext cx="1371600" cy="429957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0" name="Google Shape;367;p1">
            <a:extLst>
              <a:ext uri="{FF2B5EF4-FFF2-40B4-BE49-F238E27FC236}">
                <a16:creationId xmlns:a16="http://schemas.microsoft.com/office/drawing/2014/main" id="{EC888CF9-1225-69A5-7234-DCC505514183}"/>
              </a:ext>
            </a:extLst>
          </p:cNvPr>
          <p:cNvSpPr/>
          <p:nvPr/>
        </p:nvSpPr>
        <p:spPr>
          <a:xfrm>
            <a:off x="1623882" y="2519004"/>
            <a:ext cx="1371600" cy="429957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1" name="Google Shape;368;p1">
            <a:extLst>
              <a:ext uri="{FF2B5EF4-FFF2-40B4-BE49-F238E27FC236}">
                <a16:creationId xmlns:a16="http://schemas.microsoft.com/office/drawing/2014/main" id="{295785EC-94C6-2C5D-3AB6-1D0951475E03}"/>
              </a:ext>
            </a:extLst>
          </p:cNvPr>
          <p:cNvSpPr/>
          <p:nvPr/>
        </p:nvSpPr>
        <p:spPr>
          <a:xfrm>
            <a:off x="191322" y="2511551"/>
            <a:ext cx="1371600" cy="429957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2" name="Google Shape;369;p1">
            <a:extLst>
              <a:ext uri="{FF2B5EF4-FFF2-40B4-BE49-F238E27FC236}">
                <a16:creationId xmlns:a16="http://schemas.microsoft.com/office/drawing/2014/main" id="{ADE92E4E-3F0D-5674-F039-FCF4027A3356}"/>
              </a:ext>
            </a:extLst>
          </p:cNvPr>
          <p:cNvSpPr/>
          <p:nvPr/>
        </p:nvSpPr>
        <p:spPr>
          <a:xfrm>
            <a:off x="235389" y="1117804"/>
            <a:ext cx="5810975" cy="625392"/>
          </a:xfrm>
          <a:prstGeom prst="flowChartPunchedCard">
            <a:avLst/>
          </a:prstGeom>
          <a:solidFill>
            <a:srgbClr val="CCF1FF"/>
          </a:solidFill>
          <a:ln w="12700" cap="flat" cmpd="sng">
            <a:solidFill>
              <a:srgbClr val="CCF1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</a:endParaRPr>
          </a:p>
        </p:txBody>
      </p:sp>
      <p:sp>
        <p:nvSpPr>
          <p:cNvPr id="1373" name="Google Shape;371;p1">
            <a:extLst>
              <a:ext uri="{FF2B5EF4-FFF2-40B4-BE49-F238E27FC236}">
                <a16:creationId xmlns:a16="http://schemas.microsoft.com/office/drawing/2014/main" id="{64A5637E-3F11-DB6A-3731-C8B3164D9154}"/>
              </a:ext>
            </a:extLst>
          </p:cNvPr>
          <p:cNvSpPr/>
          <p:nvPr/>
        </p:nvSpPr>
        <p:spPr>
          <a:xfrm>
            <a:off x="6246321" y="1117804"/>
            <a:ext cx="4125022" cy="625392"/>
          </a:xfrm>
          <a:prstGeom prst="rect">
            <a:avLst/>
          </a:prstGeom>
          <a:solidFill>
            <a:srgbClr val="CCF1FF"/>
          </a:solidFill>
          <a:ln w="12700" cap="flat" cmpd="sng">
            <a:solidFill>
              <a:srgbClr val="CCF1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</a:endParaRPr>
          </a:p>
        </p:txBody>
      </p:sp>
      <p:sp>
        <p:nvSpPr>
          <p:cNvPr id="1374" name="Google Shape;372;p1">
            <a:extLst>
              <a:ext uri="{FF2B5EF4-FFF2-40B4-BE49-F238E27FC236}">
                <a16:creationId xmlns:a16="http://schemas.microsoft.com/office/drawing/2014/main" id="{A5F71E0B-D471-DE2E-6DC0-E538CE4494B5}"/>
              </a:ext>
            </a:extLst>
          </p:cNvPr>
          <p:cNvSpPr/>
          <p:nvPr/>
        </p:nvSpPr>
        <p:spPr>
          <a:xfrm>
            <a:off x="10430597" y="1117804"/>
            <a:ext cx="1622858" cy="625392"/>
          </a:xfrm>
          <a:prstGeom prst="snip1Rect">
            <a:avLst>
              <a:gd name="adj" fmla="val 41380"/>
            </a:avLst>
          </a:prstGeom>
          <a:solidFill>
            <a:srgbClr val="CCF1FF"/>
          </a:solidFill>
          <a:ln w="12700" cap="flat" cmpd="sng">
            <a:solidFill>
              <a:srgbClr val="CCF1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</a:endParaRPr>
          </a:p>
        </p:txBody>
      </p:sp>
      <p:sp>
        <p:nvSpPr>
          <p:cNvPr id="1375" name="Google Shape;373;p1">
            <a:extLst>
              <a:ext uri="{FF2B5EF4-FFF2-40B4-BE49-F238E27FC236}">
                <a16:creationId xmlns:a16="http://schemas.microsoft.com/office/drawing/2014/main" id="{0DA70400-EF29-5131-FD26-8AE466B4CA1A}"/>
              </a:ext>
            </a:extLst>
          </p:cNvPr>
          <p:cNvSpPr/>
          <p:nvPr/>
        </p:nvSpPr>
        <p:spPr>
          <a:xfrm>
            <a:off x="235390" y="1851344"/>
            <a:ext cx="1280160" cy="5340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Sources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1376" name="Google Shape;376;p1">
            <a:extLst>
              <a:ext uri="{FF2B5EF4-FFF2-40B4-BE49-F238E27FC236}">
                <a16:creationId xmlns:a16="http://schemas.microsoft.com/office/drawing/2014/main" id="{E7ECFD4F-6A2E-53E9-613B-CAC4AB4DF4A5}"/>
              </a:ext>
            </a:extLst>
          </p:cNvPr>
          <p:cNvSpPr/>
          <p:nvPr/>
        </p:nvSpPr>
        <p:spPr>
          <a:xfrm>
            <a:off x="6263511" y="1851344"/>
            <a:ext cx="1280160" cy="5340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xploration 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Visualization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1377" name="Google Shape;377;p1">
            <a:extLst>
              <a:ext uri="{FF2B5EF4-FFF2-40B4-BE49-F238E27FC236}">
                <a16:creationId xmlns:a16="http://schemas.microsoft.com/office/drawing/2014/main" id="{C10F38B5-0D1F-8B1E-4D82-864C17CE57F9}"/>
              </a:ext>
            </a:extLst>
          </p:cNvPr>
          <p:cNvSpPr/>
          <p:nvPr/>
        </p:nvSpPr>
        <p:spPr>
          <a:xfrm>
            <a:off x="7702882" y="1851344"/>
            <a:ext cx="2708100" cy="5340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odeling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1378" name="Google Shape;378;p1">
            <a:extLst>
              <a:ext uri="{FF2B5EF4-FFF2-40B4-BE49-F238E27FC236}">
                <a16:creationId xmlns:a16="http://schemas.microsoft.com/office/drawing/2014/main" id="{858D1577-EF11-1F0C-4523-78F0F3EB36C3}"/>
              </a:ext>
            </a:extLst>
          </p:cNvPr>
          <p:cNvSpPr/>
          <p:nvPr/>
        </p:nvSpPr>
        <p:spPr>
          <a:xfrm>
            <a:off x="10605679" y="1851344"/>
            <a:ext cx="1280160" cy="5340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elivery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1379" name="Google Shape;379;p1">
            <a:extLst>
              <a:ext uri="{FF2B5EF4-FFF2-40B4-BE49-F238E27FC236}">
                <a16:creationId xmlns:a16="http://schemas.microsoft.com/office/drawing/2014/main" id="{E4B942A5-3D07-8DEA-1097-315F48FCEA99}"/>
              </a:ext>
            </a:extLst>
          </p:cNvPr>
          <p:cNvSpPr/>
          <p:nvPr/>
        </p:nvSpPr>
        <p:spPr>
          <a:xfrm>
            <a:off x="1652312" y="1851344"/>
            <a:ext cx="1280160" cy="5340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ntegration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1380" name="Google Shape;383;p1">
            <a:extLst>
              <a:ext uri="{FF2B5EF4-FFF2-40B4-BE49-F238E27FC236}">
                <a16:creationId xmlns:a16="http://schemas.microsoft.com/office/drawing/2014/main" id="{F17FCD6C-C435-E08D-E8CB-57E420334BB2}"/>
              </a:ext>
            </a:extLst>
          </p:cNvPr>
          <p:cNvSpPr/>
          <p:nvPr/>
        </p:nvSpPr>
        <p:spPr>
          <a:xfrm>
            <a:off x="1669602" y="3039736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Batch Data Integration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81" name="Google Shape;384;p1">
            <a:extLst>
              <a:ext uri="{FF2B5EF4-FFF2-40B4-BE49-F238E27FC236}">
                <a16:creationId xmlns:a16="http://schemas.microsoft.com/office/drawing/2014/main" id="{A7070406-B677-2A37-0FC7-A84CDC7790DE}"/>
              </a:ext>
            </a:extLst>
          </p:cNvPr>
          <p:cNvSpPr/>
          <p:nvPr/>
        </p:nvSpPr>
        <p:spPr>
          <a:xfrm>
            <a:off x="1669602" y="4371953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tream Ingestion Real time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82" name="Google Shape;385;p1">
            <a:extLst>
              <a:ext uri="{FF2B5EF4-FFF2-40B4-BE49-F238E27FC236}">
                <a16:creationId xmlns:a16="http://schemas.microsoft.com/office/drawing/2014/main" id="{E2132FD4-8288-4DB9-D17C-C8F83CE649C8}"/>
              </a:ext>
            </a:extLst>
          </p:cNvPr>
          <p:cNvSpPr/>
          <p:nvPr/>
        </p:nvSpPr>
        <p:spPr>
          <a:xfrm>
            <a:off x="1669602" y="5704171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essage Broker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83" name="Google Shape;386;p1">
            <a:extLst>
              <a:ext uri="{FF2B5EF4-FFF2-40B4-BE49-F238E27FC236}">
                <a16:creationId xmlns:a16="http://schemas.microsoft.com/office/drawing/2014/main" id="{B2A09CEE-8FB2-539A-9D62-07CCAF789A81}"/>
              </a:ext>
            </a:extLst>
          </p:cNvPr>
          <p:cNvSpPr/>
          <p:nvPr/>
        </p:nvSpPr>
        <p:spPr>
          <a:xfrm>
            <a:off x="235390" y="2596319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RP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84" name="Google Shape;387;p1">
            <a:extLst>
              <a:ext uri="{FF2B5EF4-FFF2-40B4-BE49-F238E27FC236}">
                <a16:creationId xmlns:a16="http://schemas.microsoft.com/office/drawing/2014/main" id="{0E4B5B92-AB88-7A87-B41D-B7F8C3FB75AB}"/>
              </a:ext>
            </a:extLst>
          </p:cNvPr>
          <p:cNvSpPr/>
          <p:nvPr/>
        </p:nvSpPr>
        <p:spPr>
          <a:xfrm>
            <a:off x="235390" y="4373503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bases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85" name="Google Shape;388;p1">
            <a:extLst>
              <a:ext uri="{FF2B5EF4-FFF2-40B4-BE49-F238E27FC236}">
                <a16:creationId xmlns:a16="http://schemas.microsoft.com/office/drawing/2014/main" id="{B8ED7002-3AB8-5AC5-3267-6B04818031F4}"/>
              </a:ext>
            </a:extLst>
          </p:cNvPr>
          <p:cNvSpPr/>
          <p:nvPr/>
        </p:nvSpPr>
        <p:spPr>
          <a:xfrm>
            <a:off x="235390" y="5262096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xternal Sources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86" name="Google Shape;389;p1">
            <a:extLst>
              <a:ext uri="{FF2B5EF4-FFF2-40B4-BE49-F238E27FC236}">
                <a16:creationId xmlns:a16="http://schemas.microsoft.com/office/drawing/2014/main" id="{27024739-02A0-3AB6-6E8A-FFFDE2468B5A}"/>
              </a:ext>
            </a:extLst>
          </p:cNvPr>
          <p:cNvSpPr/>
          <p:nvPr/>
        </p:nvSpPr>
        <p:spPr>
          <a:xfrm>
            <a:off x="235390" y="3484911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CRM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87" name="Google Shape;390;p1">
            <a:extLst>
              <a:ext uri="{FF2B5EF4-FFF2-40B4-BE49-F238E27FC236}">
                <a16:creationId xmlns:a16="http://schemas.microsoft.com/office/drawing/2014/main" id="{3DC32EC3-6C35-6572-E8B0-EA1B35BA506E}"/>
              </a:ext>
            </a:extLst>
          </p:cNvPr>
          <p:cNvSpPr/>
          <p:nvPr/>
        </p:nvSpPr>
        <p:spPr>
          <a:xfrm>
            <a:off x="235390" y="6150687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Files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88" name="Google Shape;391;p1">
            <a:extLst>
              <a:ext uri="{FF2B5EF4-FFF2-40B4-BE49-F238E27FC236}">
                <a16:creationId xmlns:a16="http://schemas.microsoft.com/office/drawing/2014/main" id="{52D55756-5BA7-7B5B-586B-C99413EBC1E2}"/>
              </a:ext>
            </a:extLst>
          </p:cNvPr>
          <p:cNvSpPr/>
          <p:nvPr/>
        </p:nvSpPr>
        <p:spPr>
          <a:xfrm>
            <a:off x="7713900" y="4437933"/>
            <a:ext cx="1280160" cy="39087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achine Learning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89" name="Google Shape;392;p1">
            <a:extLst>
              <a:ext uri="{FF2B5EF4-FFF2-40B4-BE49-F238E27FC236}">
                <a16:creationId xmlns:a16="http://schemas.microsoft.com/office/drawing/2014/main" id="{A50B1E9F-5D0F-8289-5E17-F79BF7725875}"/>
              </a:ext>
            </a:extLst>
          </p:cNvPr>
          <p:cNvSpPr/>
          <p:nvPr/>
        </p:nvSpPr>
        <p:spPr>
          <a:xfrm>
            <a:off x="9130822" y="5033698"/>
            <a:ext cx="1280160" cy="39087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Video/Image Analytics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90" name="Google Shape;393;p1">
            <a:extLst>
              <a:ext uri="{FF2B5EF4-FFF2-40B4-BE49-F238E27FC236}">
                <a16:creationId xmlns:a16="http://schemas.microsoft.com/office/drawing/2014/main" id="{B38850CA-9FB5-0CBE-2B2D-06B1DEDF12F3}"/>
              </a:ext>
            </a:extLst>
          </p:cNvPr>
          <p:cNvSpPr/>
          <p:nvPr/>
        </p:nvSpPr>
        <p:spPr>
          <a:xfrm>
            <a:off x="7713900" y="5054193"/>
            <a:ext cx="1280160" cy="39087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eep Learning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91" name="Google Shape;394;p1">
            <a:extLst>
              <a:ext uri="{FF2B5EF4-FFF2-40B4-BE49-F238E27FC236}">
                <a16:creationId xmlns:a16="http://schemas.microsoft.com/office/drawing/2014/main" id="{408CEA82-2A85-3F6F-0857-9DBF6D341D2E}"/>
              </a:ext>
            </a:extLst>
          </p:cNvPr>
          <p:cNvSpPr/>
          <p:nvPr/>
        </p:nvSpPr>
        <p:spPr>
          <a:xfrm>
            <a:off x="9130822" y="4603715"/>
            <a:ext cx="1280160" cy="39087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peech Analytics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92" name="Google Shape;395;p1">
            <a:extLst>
              <a:ext uri="{FF2B5EF4-FFF2-40B4-BE49-F238E27FC236}">
                <a16:creationId xmlns:a16="http://schemas.microsoft.com/office/drawing/2014/main" id="{6CEB4FB6-40EC-687A-4C78-FF7C3733224E}"/>
              </a:ext>
            </a:extLst>
          </p:cNvPr>
          <p:cNvSpPr/>
          <p:nvPr/>
        </p:nvSpPr>
        <p:spPr>
          <a:xfrm>
            <a:off x="9130822" y="5463681"/>
            <a:ext cx="1280160" cy="39087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ext Analytics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93" name="Google Shape;396;p1">
            <a:extLst>
              <a:ext uri="{FF2B5EF4-FFF2-40B4-BE49-F238E27FC236}">
                <a16:creationId xmlns:a16="http://schemas.microsoft.com/office/drawing/2014/main" id="{B7816CB5-F2E0-88BD-67A2-DCD365D5BD3B}"/>
              </a:ext>
            </a:extLst>
          </p:cNvPr>
          <p:cNvSpPr/>
          <p:nvPr/>
        </p:nvSpPr>
        <p:spPr>
          <a:xfrm>
            <a:off x="7713900" y="3821673"/>
            <a:ext cx="1280160" cy="39087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imulation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nd Optimization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94" name="Google Shape;397;p1">
            <a:extLst>
              <a:ext uri="{FF2B5EF4-FFF2-40B4-BE49-F238E27FC236}">
                <a16:creationId xmlns:a16="http://schemas.microsoft.com/office/drawing/2014/main" id="{EBD92DBE-C4AF-7E99-9909-AB5D6C2B3484}"/>
              </a:ext>
            </a:extLst>
          </p:cNvPr>
          <p:cNvSpPr/>
          <p:nvPr/>
        </p:nvSpPr>
        <p:spPr>
          <a:xfrm>
            <a:off x="7702882" y="6286712"/>
            <a:ext cx="1280160" cy="39087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Geospatial and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Location Analytics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95" name="Google Shape;398;p1">
            <a:extLst>
              <a:ext uri="{FF2B5EF4-FFF2-40B4-BE49-F238E27FC236}">
                <a16:creationId xmlns:a16="http://schemas.microsoft.com/office/drawing/2014/main" id="{F82941D5-059E-973F-8487-6B871A356857}"/>
              </a:ext>
            </a:extLst>
          </p:cNvPr>
          <p:cNvSpPr/>
          <p:nvPr/>
        </p:nvSpPr>
        <p:spPr>
          <a:xfrm>
            <a:off x="7713900" y="3205413"/>
            <a:ext cx="1280160" cy="390870"/>
          </a:xfrm>
          <a:prstGeom prst="rect">
            <a:avLst/>
          </a:prstGeom>
          <a:solidFill>
            <a:schemeClr val="bg2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redictive Analytics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96" name="Google Shape;399;p1">
            <a:extLst>
              <a:ext uri="{FF2B5EF4-FFF2-40B4-BE49-F238E27FC236}">
                <a16:creationId xmlns:a16="http://schemas.microsoft.com/office/drawing/2014/main" id="{4DC650E9-CADA-1CF3-251B-97CC6862DE89}"/>
              </a:ext>
            </a:extLst>
          </p:cNvPr>
          <p:cNvSpPr/>
          <p:nvPr/>
        </p:nvSpPr>
        <p:spPr>
          <a:xfrm>
            <a:off x="7713900" y="5670452"/>
            <a:ext cx="1280160" cy="39087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Graph Analytics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97" name="Google Shape;400;p1">
            <a:extLst>
              <a:ext uri="{FF2B5EF4-FFF2-40B4-BE49-F238E27FC236}">
                <a16:creationId xmlns:a16="http://schemas.microsoft.com/office/drawing/2014/main" id="{B879911F-674C-F762-7B5A-72009B3EDC92}"/>
              </a:ext>
            </a:extLst>
          </p:cNvPr>
          <p:cNvSpPr/>
          <p:nvPr/>
        </p:nvSpPr>
        <p:spPr>
          <a:xfrm>
            <a:off x="7713900" y="2589153"/>
            <a:ext cx="1280160" cy="390870"/>
          </a:xfrm>
          <a:prstGeom prst="rect">
            <a:avLst/>
          </a:prstGeom>
          <a:solidFill>
            <a:schemeClr val="bg2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rescriptive Analytics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98" name="Google Shape;401;p1">
            <a:extLst>
              <a:ext uri="{FF2B5EF4-FFF2-40B4-BE49-F238E27FC236}">
                <a16:creationId xmlns:a16="http://schemas.microsoft.com/office/drawing/2014/main" id="{B1B51E54-0D9E-9B97-0936-666CC89D15E3}"/>
              </a:ext>
            </a:extLst>
          </p:cNvPr>
          <p:cNvSpPr/>
          <p:nvPr/>
        </p:nvSpPr>
        <p:spPr>
          <a:xfrm>
            <a:off x="6285960" y="2589153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tatistics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99" name="Google Shape;402;p1">
            <a:extLst>
              <a:ext uri="{FF2B5EF4-FFF2-40B4-BE49-F238E27FC236}">
                <a16:creationId xmlns:a16="http://schemas.microsoft.com/office/drawing/2014/main" id="{B1FC6443-FDB1-39CC-3A5A-6BB4AD06C7A1}"/>
              </a:ext>
            </a:extLst>
          </p:cNvPr>
          <p:cNvSpPr/>
          <p:nvPr/>
        </p:nvSpPr>
        <p:spPr>
          <a:xfrm>
            <a:off x="6292041" y="5276221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shboard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00" name="Google Shape;403;p1">
            <a:extLst>
              <a:ext uri="{FF2B5EF4-FFF2-40B4-BE49-F238E27FC236}">
                <a16:creationId xmlns:a16="http://schemas.microsoft.com/office/drawing/2014/main" id="{D4E08144-02A1-C911-8BA3-672579CB6594}"/>
              </a:ext>
            </a:extLst>
          </p:cNvPr>
          <p:cNvSpPr/>
          <p:nvPr/>
        </p:nvSpPr>
        <p:spPr>
          <a:xfrm>
            <a:off x="6263511" y="6201079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Real time Reporting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01" name="Google Shape;404;p1">
            <a:extLst>
              <a:ext uri="{FF2B5EF4-FFF2-40B4-BE49-F238E27FC236}">
                <a16:creationId xmlns:a16="http://schemas.microsoft.com/office/drawing/2014/main" id="{AEE0F7E0-4255-B5E7-31AA-EC15AF3BE5BB}"/>
              </a:ext>
            </a:extLst>
          </p:cNvPr>
          <p:cNvSpPr/>
          <p:nvPr/>
        </p:nvSpPr>
        <p:spPr>
          <a:xfrm>
            <a:off x="10605679" y="5715267"/>
            <a:ext cx="1280160" cy="312696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Containerization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02" name="Google Shape;405;p1">
            <a:extLst>
              <a:ext uri="{FF2B5EF4-FFF2-40B4-BE49-F238E27FC236}">
                <a16:creationId xmlns:a16="http://schemas.microsoft.com/office/drawing/2014/main" id="{526FDB6A-1900-DFFC-0726-7405DD3DC621}"/>
              </a:ext>
            </a:extLst>
          </p:cNvPr>
          <p:cNvSpPr/>
          <p:nvPr/>
        </p:nvSpPr>
        <p:spPr>
          <a:xfrm>
            <a:off x="10605679" y="5099021"/>
            <a:ext cx="1280160" cy="312696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ecurity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03" name="Google Shape;406;p1">
            <a:extLst>
              <a:ext uri="{FF2B5EF4-FFF2-40B4-BE49-F238E27FC236}">
                <a16:creationId xmlns:a16="http://schemas.microsoft.com/office/drawing/2014/main" id="{0C94CE71-536B-E6F6-F662-50B305C17A82}"/>
              </a:ext>
            </a:extLst>
          </p:cNvPr>
          <p:cNvSpPr/>
          <p:nvPr/>
        </p:nvSpPr>
        <p:spPr>
          <a:xfrm>
            <a:off x="9130822" y="2598046"/>
            <a:ext cx="1280160" cy="390870"/>
          </a:xfrm>
          <a:prstGeom prst="rect">
            <a:avLst/>
          </a:prstGeom>
          <a:solidFill>
            <a:schemeClr val="bg2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Recommendation Systems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04" name="Google Shape;407;p1">
            <a:extLst>
              <a:ext uri="{FF2B5EF4-FFF2-40B4-BE49-F238E27FC236}">
                <a16:creationId xmlns:a16="http://schemas.microsoft.com/office/drawing/2014/main" id="{10FF9421-7314-2AA7-11AD-B30156E778E0}"/>
              </a:ext>
            </a:extLst>
          </p:cNvPr>
          <p:cNvSpPr/>
          <p:nvPr/>
        </p:nvSpPr>
        <p:spPr>
          <a:xfrm>
            <a:off x="9130822" y="3060384"/>
            <a:ext cx="1280160" cy="390870"/>
          </a:xfrm>
          <a:prstGeom prst="rect">
            <a:avLst/>
          </a:prstGeom>
          <a:solidFill>
            <a:schemeClr val="bg2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ime series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05" name="Google Shape;408;p1">
            <a:extLst>
              <a:ext uri="{FF2B5EF4-FFF2-40B4-BE49-F238E27FC236}">
                <a16:creationId xmlns:a16="http://schemas.microsoft.com/office/drawing/2014/main" id="{C95AA5C9-79B4-4674-1DB1-4E41140DDFF3}"/>
              </a:ext>
            </a:extLst>
          </p:cNvPr>
          <p:cNvSpPr/>
          <p:nvPr/>
        </p:nvSpPr>
        <p:spPr>
          <a:xfrm>
            <a:off x="9130822" y="3522720"/>
            <a:ext cx="1280160" cy="390870"/>
          </a:xfrm>
          <a:prstGeom prst="rect">
            <a:avLst/>
          </a:prstGeom>
          <a:solidFill>
            <a:schemeClr val="bg2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egmentation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06" name="Google Shape;409;p1">
            <a:extLst>
              <a:ext uri="{FF2B5EF4-FFF2-40B4-BE49-F238E27FC236}">
                <a16:creationId xmlns:a16="http://schemas.microsoft.com/office/drawing/2014/main" id="{4F7BE2B6-8AF0-E048-2B38-FEC3E692B927}"/>
              </a:ext>
            </a:extLst>
          </p:cNvPr>
          <p:cNvSpPr/>
          <p:nvPr/>
        </p:nvSpPr>
        <p:spPr>
          <a:xfrm>
            <a:off x="9130822" y="5895842"/>
            <a:ext cx="1280160" cy="39087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entiment/ Behavior Analytics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18" name="Google Shape;410;p1">
            <a:extLst>
              <a:ext uri="{FF2B5EF4-FFF2-40B4-BE49-F238E27FC236}">
                <a16:creationId xmlns:a16="http://schemas.microsoft.com/office/drawing/2014/main" id="{A67FB989-9B9B-5479-1D26-E3D9A9A9CF57}"/>
              </a:ext>
            </a:extLst>
          </p:cNvPr>
          <p:cNvSpPr/>
          <p:nvPr/>
        </p:nvSpPr>
        <p:spPr>
          <a:xfrm>
            <a:off x="3100670" y="1851344"/>
            <a:ext cx="1280160" cy="5340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torage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1422" name="Google Shape;411;p1">
            <a:extLst>
              <a:ext uri="{FF2B5EF4-FFF2-40B4-BE49-F238E27FC236}">
                <a16:creationId xmlns:a16="http://schemas.microsoft.com/office/drawing/2014/main" id="{9A27F000-A1DE-EA37-7C93-611DCC42CBDE}"/>
              </a:ext>
            </a:extLst>
          </p:cNvPr>
          <p:cNvSpPr/>
          <p:nvPr/>
        </p:nvSpPr>
        <p:spPr>
          <a:xfrm>
            <a:off x="6282201" y="4395117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Reports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25" name="Google Shape;412;p1">
            <a:extLst>
              <a:ext uri="{FF2B5EF4-FFF2-40B4-BE49-F238E27FC236}">
                <a16:creationId xmlns:a16="http://schemas.microsoft.com/office/drawing/2014/main" id="{0063D84C-F7AA-6B10-0E15-58E89E0279E9}"/>
              </a:ext>
            </a:extLst>
          </p:cNvPr>
          <p:cNvSpPr/>
          <p:nvPr/>
        </p:nvSpPr>
        <p:spPr>
          <a:xfrm>
            <a:off x="3118174" y="2483534"/>
            <a:ext cx="1371600" cy="429957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6" name="Google Shape;413;p1">
            <a:extLst>
              <a:ext uri="{FF2B5EF4-FFF2-40B4-BE49-F238E27FC236}">
                <a16:creationId xmlns:a16="http://schemas.microsoft.com/office/drawing/2014/main" id="{B66C0BBB-7E80-9C44-26E1-3F7FEF3FBCEF}"/>
              </a:ext>
            </a:extLst>
          </p:cNvPr>
          <p:cNvSpPr/>
          <p:nvPr/>
        </p:nvSpPr>
        <p:spPr>
          <a:xfrm>
            <a:off x="3163134" y="4940845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Big Data/Distributed Environment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36" name="Google Shape;414;p1">
            <a:extLst>
              <a:ext uri="{FF2B5EF4-FFF2-40B4-BE49-F238E27FC236}">
                <a16:creationId xmlns:a16="http://schemas.microsoft.com/office/drawing/2014/main" id="{A7CBE399-F619-F50D-7272-3944FF15AAA9}"/>
              </a:ext>
            </a:extLst>
          </p:cNvPr>
          <p:cNvSpPr/>
          <p:nvPr/>
        </p:nvSpPr>
        <p:spPr>
          <a:xfrm>
            <a:off x="3163134" y="3759020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NOSQL Environment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37" name="Google Shape;415;p1">
            <a:extLst>
              <a:ext uri="{FF2B5EF4-FFF2-40B4-BE49-F238E27FC236}">
                <a16:creationId xmlns:a16="http://schemas.microsoft.com/office/drawing/2014/main" id="{FAE2CCB5-5E9F-0D5D-D25F-399D0F6D57E4}"/>
              </a:ext>
            </a:extLst>
          </p:cNvPr>
          <p:cNvSpPr/>
          <p:nvPr/>
        </p:nvSpPr>
        <p:spPr>
          <a:xfrm>
            <a:off x="3152913" y="2577195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Warehousing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nvironment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38" name="Google Shape;416;p1">
            <a:extLst>
              <a:ext uri="{FF2B5EF4-FFF2-40B4-BE49-F238E27FC236}">
                <a16:creationId xmlns:a16="http://schemas.microsoft.com/office/drawing/2014/main" id="{137F1BD8-8C2C-7C67-D199-9BC59F1B2F6D}"/>
              </a:ext>
            </a:extLst>
          </p:cNvPr>
          <p:cNvSpPr/>
          <p:nvPr/>
        </p:nvSpPr>
        <p:spPr>
          <a:xfrm>
            <a:off x="10605679" y="4482775"/>
            <a:ext cx="1280160" cy="312696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Orchestration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39" name="Google Shape;417;p1">
            <a:extLst>
              <a:ext uri="{FF2B5EF4-FFF2-40B4-BE49-F238E27FC236}">
                <a16:creationId xmlns:a16="http://schemas.microsoft.com/office/drawing/2014/main" id="{909870EA-45EF-F61C-EEC2-EC56AA9A445E}"/>
              </a:ext>
            </a:extLst>
          </p:cNvPr>
          <p:cNvSpPr/>
          <p:nvPr/>
        </p:nvSpPr>
        <p:spPr>
          <a:xfrm>
            <a:off x="10605679" y="3250283"/>
            <a:ext cx="1280160" cy="312696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S/ML Platforms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40" name="Google Shape;418;p1">
            <a:extLst>
              <a:ext uri="{FF2B5EF4-FFF2-40B4-BE49-F238E27FC236}">
                <a16:creationId xmlns:a16="http://schemas.microsoft.com/office/drawing/2014/main" id="{AFC39097-755F-76B1-2375-E76C2966DBD0}"/>
              </a:ext>
            </a:extLst>
          </p:cNvPr>
          <p:cNvSpPr/>
          <p:nvPr/>
        </p:nvSpPr>
        <p:spPr>
          <a:xfrm>
            <a:off x="10605679" y="3866529"/>
            <a:ext cx="1280160" cy="312696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Version Control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41" name="Google Shape;419;p1">
            <a:extLst>
              <a:ext uri="{FF2B5EF4-FFF2-40B4-BE49-F238E27FC236}">
                <a16:creationId xmlns:a16="http://schemas.microsoft.com/office/drawing/2014/main" id="{C8F1A197-B1D2-620A-9A71-82B3916CF1E6}"/>
              </a:ext>
            </a:extLst>
          </p:cNvPr>
          <p:cNvSpPr/>
          <p:nvPr/>
        </p:nvSpPr>
        <p:spPr>
          <a:xfrm>
            <a:off x="10605679" y="2634037"/>
            <a:ext cx="1280160" cy="312696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odel Monitoring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42" name="Google Shape;421;p1">
            <a:extLst>
              <a:ext uri="{FF2B5EF4-FFF2-40B4-BE49-F238E27FC236}">
                <a16:creationId xmlns:a16="http://schemas.microsoft.com/office/drawing/2014/main" id="{A88AF1DB-70AE-5189-A937-C9ABD4A3F4FF}"/>
              </a:ext>
            </a:extLst>
          </p:cNvPr>
          <p:cNvSpPr/>
          <p:nvPr/>
        </p:nvSpPr>
        <p:spPr>
          <a:xfrm>
            <a:off x="3163134" y="6122671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Cloud 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nvironment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43" name="Google Shape;411;p1">
            <a:extLst>
              <a:ext uri="{FF2B5EF4-FFF2-40B4-BE49-F238E27FC236}">
                <a16:creationId xmlns:a16="http://schemas.microsoft.com/office/drawing/2014/main" id="{5D7C0C41-1B8D-ED72-49F6-C9DD28475B35}"/>
              </a:ext>
            </a:extLst>
          </p:cNvPr>
          <p:cNvSpPr/>
          <p:nvPr/>
        </p:nvSpPr>
        <p:spPr>
          <a:xfrm>
            <a:off x="6277875" y="3514012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Feature Engineering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44" name="Google Shape;416;p1">
            <a:extLst>
              <a:ext uri="{FF2B5EF4-FFF2-40B4-BE49-F238E27FC236}">
                <a16:creationId xmlns:a16="http://schemas.microsoft.com/office/drawing/2014/main" id="{B6E3CB8D-07F5-4EC6-1AAF-C0687DBE285B}"/>
              </a:ext>
            </a:extLst>
          </p:cNvPr>
          <p:cNvSpPr/>
          <p:nvPr/>
        </p:nvSpPr>
        <p:spPr>
          <a:xfrm>
            <a:off x="10605679" y="6281643"/>
            <a:ext cx="1280160" cy="312696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nterfacing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45" name="Google Shape;410;p1">
            <a:extLst>
              <a:ext uri="{FF2B5EF4-FFF2-40B4-BE49-F238E27FC236}">
                <a16:creationId xmlns:a16="http://schemas.microsoft.com/office/drawing/2014/main" id="{BDE1C389-FDC3-15B5-73EC-DD749EA06AED}"/>
              </a:ext>
            </a:extLst>
          </p:cNvPr>
          <p:cNvSpPr/>
          <p:nvPr/>
        </p:nvSpPr>
        <p:spPr>
          <a:xfrm>
            <a:off x="4648330" y="1851344"/>
            <a:ext cx="1280160" cy="5340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reparation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1446" name="Google Shape;411;p1">
            <a:extLst>
              <a:ext uri="{FF2B5EF4-FFF2-40B4-BE49-F238E27FC236}">
                <a16:creationId xmlns:a16="http://schemas.microsoft.com/office/drawing/2014/main" id="{32A1A4C9-A64F-2328-5570-EFA3730D3F34}"/>
              </a:ext>
            </a:extLst>
          </p:cNvPr>
          <p:cNvSpPr/>
          <p:nvPr/>
        </p:nvSpPr>
        <p:spPr>
          <a:xfrm>
            <a:off x="4648330" y="3023435"/>
            <a:ext cx="1280160" cy="534060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Quality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47" name="Google Shape;411;p1">
            <a:extLst>
              <a:ext uri="{FF2B5EF4-FFF2-40B4-BE49-F238E27FC236}">
                <a16:creationId xmlns:a16="http://schemas.microsoft.com/office/drawing/2014/main" id="{EE15A4ED-594E-550E-8775-3138873A9EC5}"/>
              </a:ext>
            </a:extLst>
          </p:cNvPr>
          <p:cNvSpPr/>
          <p:nvPr/>
        </p:nvSpPr>
        <p:spPr>
          <a:xfrm>
            <a:off x="4664856" y="4386904"/>
            <a:ext cx="1280160" cy="460574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Cleaning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48" name="Google Shape;411;p1">
            <a:extLst>
              <a:ext uri="{FF2B5EF4-FFF2-40B4-BE49-F238E27FC236}">
                <a16:creationId xmlns:a16="http://schemas.microsoft.com/office/drawing/2014/main" id="{7EF37181-C446-A928-968A-12663F9A425E}"/>
              </a:ext>
            </a:extLst>
          </p:cNvPr>
          <p:cNvSpPr/>
          <p:nvPr/>
        </p:nvSpPr>
        <p:spPr>
          <a:xfrm>
            <a:off x="4664856" y="5624263"/>
            <a:ext cx="1280160" cy="460574"/>
          </a:xfrm>
          <a:prstGeom prst="rect">
            <a:avLst/>
          </a:prstGeom>
          <a:solidFill>
            <a:schemeClr val="accent1"/>
          </a:soli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Transformation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1450" name="Graphic 1449" descr="Bar chart outline">
            <a:extLst>
              <a:ext uri="{FF2B5EF4-FFF2-40B4-BE49-F238E27FC236}">
                <a16:creationId xmlns:a16="http://schemas.microsoft.com/office/drawing/2014/main" id="{36B987DF-E56C-E619-708A-6945B467614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7206441" y="1287919"/>
            <a:ext cx="411480" cy="351783"/>
          </a:xfrm>
          <a:prstGeom prst="rect">
            <a:avLst/>
          </a:prstGeom>
        </p:spPr>
      </p:pic>
      <p:sp>
        <p:nvSpPr>
          <p:cNvPr id="1451" name="TextBox 1450">
            <a:extLst>
              <a:ext uri="{FF2B5EF4-FFF2-40B4-BE49-F238E27FC236}">
                <a16:creationId xmlns:a16="http://schemas.microsoft.com/office/drawing/2014/main" id="{F692ABED-2C6F-C9E1-D32D-45F4C2B693FF}"/>
              </a:ext>
            </a:extLst>
          </p:cNvPr>
          <p:cNvSpPr txBox="1"/>
          <p:nvPr/>
        </p:nvSpPr>
        <p:spPr>
          <a:xfrm>
            <a:off x="1721289" y="1248362"/>
            <a:ext cx="452503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CQUIRE &amp; PREPARE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452" name="TextBox 1451">
            <a:extLst>
              <a:ext uri="{FF2B5EF4-FFF2-40B4-BE49-F238E27FC236}">
                <a16:creationId xmlns:a16="http://schemas.microsoft.com/office/drawing/2014/main" id="{105E1F5B-D009-9222-5AAB-1251BD1CA8E6}"/>
              </a:ext>
            </a:extLst>
          </p:cNvPr>
          <p:cNvSpPr txBox="1"/>
          <p:nvPr/>
        </p:nvSpPr>
        <p:spPr>
          <a:xfrm>
            <a:off x="7713900" y="1248362"/>
            <a:ext cx="2000119" cy="4766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NALYZE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453" name="TextBox 1452">
            <a:extLst>
              <a:ext uri="{FF2B5EF4-FFF2-40B4-BE49-F238E27FC236}">
                <a16:creationId xmlns:a16="http://schemas.microsoft.com/office/drawing/2014/main" id="{D860ABDC-4E8C-6FD8-7D5F-50CADEE99F7F}"/>
              </a:ext>
            </a:extLst>
          </p:cNvPr>
          <p:cNvSpPr txBox="1"/>
          <p:nvPr/>
        </p:nvSpPr>
        <p:spPr>
          <a:xfrm>
            <a:off x="10605679" y="1248362"/>
            <a:ext cx="149749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EPLOY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455" name="Graphic 1454" descr="Server outline">
            <a:extLst>
              <a:ext uri="{FF2B5EF4-FFF2-40B4-BE49-F238E27FC236}">
                <a16:creationId xmlns:a16="http://schemas.microsoft.com/office/drawing/2014/main" id="{41AD20CF-2FB4-A681-F303-E3FDA00957E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1357182" y="1258070"/>
            <a:ext cx="411480" cy="411480"/>
          </a:xfrm>
          <a:prstGeom prst="rect">
            <a:avLst/>
          </a:prstGeom>
        </p:spPr>
      </p:pic>
      <p:pic>
        <p:nvPicPr>
          <p:cNvPr id="1456" name="Graphic 1455" descr="Server outline">
            <a:extLst>
              <a:ext uri="{FF2B5EF4-FFF2-40B4-BE49-F238E27FC236}">
                <a16:creationId xmlns:a16="http://schemas.microsoft.com/office/drawing/2014/main" id="{47E402E1-13A4-80DF-9BF2-F541D7888BA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10441839" y="1256157"/>
            <a:ext cx="411480" cy="41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6904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940E34-C13D-E7A9-ECF8-60B5CB5DF3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460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46" name="Google Shape;1546;p1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dirty="0"/>
              <a:t>Examples of potential uses cases</a:t>
            </a:r>
            <a:endParaRPr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9AEA6EC8-140E-E523-06CF-A0D4EFD33E79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6257925" y="1889831"/>
            <a:ext cx="5660664" cy="4658198"/>
          </a:xfrm>
        </p:spPr>
        <p:txBody>
          <a:bodyPr/>
          <a:lstStyle/>
          <a:p>
            <a:pPr marL="5143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dirty="0"/>
              <a:t>Visualize and  monitor tourist activities in a destination through the creation of dynamic and interactive reports and dashboards that incorporate a comprehensive, multifaceted analysis such as</a:t>
            </a:r>
          </a:p>
          <a:p>
            <a:pPr marL="971550" lvl="1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b="1" i="1" dirty="0">
                <a:solidFill>
                  <a:schemeClr val="bg2"/>
                </a:solidFill>
              </a:rPr>
              <a:t>Destination</a:t>
            </a:r>
            <a:r>
              <a:rPr lang="en-US" dirty="0"/>
              <a:t> : visitor numbers, spending habits, demographic information, and satisfaction levels.</a:t>
            </a:r>
          </a:p>
          <a:p>
            <a:pPr marL="971550" lvl="1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b="1" i="1" dirty="0">
                <a:solidFill>
                  <a:schemeClr val="bg2"/>
                </a:solidFill>
              </a:rPr>
              <a:t>Resource allocation &amp; management  </a:t>
            </a:r>
            <a:r>
              <a:rPr lang="en-US" dirty="0"/>
              <a:t>: availability of hotel rooms, transportation options, and tourist activities.</a:t>
            </a:r>
          </a:p>
          <a:p>
            <a:pPr marL="5143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dirty="0"/>
              <a:t>Optimize revenue management by identifying the key drivers of revenue (ex: visitor numbers, spending patterns, and pricing strategies) and develop pricing strategies that maximize revenue (ex: considering seasonality, incorporating discounts or promotions…).</a:t>
            </a:r>
          </a:p>
          <a:p>
            <a:pPr marL="5143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dirty="0"/>
              <a:t>Forecast of future demand for tourist destinations by analyzing data on historical demand trends, weather patterns, and other relevant factors to develop a model that predicts future demand for a particular destination.</a:t>
            </a:r>
          </a:p>
          <a:p>
            <a:pPr marL="5143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dirty="0"/>
              <a:t>Improve the tourism experience by using text analysis and sentiment analysis techniques to extract meaningful insights from these data and understand the factors that contribute to tourist satisfaction</a:t>
            </a:r>
          </a:p>
          <a:p>
            <a:endParaRPr lang="en-US" dirty="0"/>
          </a:p>
        </p:txBody>
      </p:sp>
      <p:cxnSp>
        <p:nvCxnSpPr>
          <p:cNvPr id="1563" name="Google Shape;1563;p11"/>
          <p:cNvCxnSpPr/>
          <p:nvPr/>
        </p:nvCxnSpPr>
        <p:spPr>
          <a:xfrm>
            <a:off x="550863" y="6337576"/>
            <a:ext cx="11107737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84" name="Google Shape;1584;p11"/>
          <p:cNvGrpSpPr/>
          <p:nvPr/>
        </p:nvGrpSpPr>
        <p:grpSpPr>
          <a:xfrm>
            <a:off x="10976464" y="135255"/>
            <a:ext cx="1046733" cy="468742"/>
            <a:chOff x="10976464" y="135255"/>
            <a:chExt cx="1046733" cy="468742"/>
          </a:xfrm>
        </p:grpSpPr>
        <p:sp>
          <p:nvSpPr>
            <p:cNvPr id="1585" name="Google Shape;1585;p11"/>
            <p:cNvSpPr txBox="1"/>
            <p:nvPr/>
          </p:nvSpPr>
          <p:spPr>
            <a:xfrm>
              <a:off x="10976464" y="292682"/>
              <a:ext cx="533800" cy="1538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0" i="0" u="none" strike="noStrike" cap="none">
                  <a:solidFill>
                    <a:schemeClr val="dk2"/>
                  </a:solidFill>
                  <a:latin typeface="Franklin Gothic"/>
                  <a:ea typeface="Franklin Gothic"/>
                  <a:cs typeface="Franklin Gothic"/>
                  <a:sym typeface="Franklin Gothic"/>
                </a:rPr>
                <a:t>Research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6" name="Google Shape;1586;p11"/>
            <p:cNvSpPr/>
            <p:nvPr/>
          </p:nvSpPr>
          <p:spPr>
            <a:xfrm>
              <a:off x="11554453" y="135255"/>
              <a:ext cx="468744" cy="468742"/>
            </a:xfrm>
            <a:prstGeom prst="ellipse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87" name="Google Shape;1587;p11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1641138" y="237175"/>
              <a:ext cx="269974" cy="26997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Google Shape;369;p1">
            <a:extLst>
              <a:ext uri="{FF2B5EF4-FFF2-40B4-BE49-F238E27FC236}">
                <a16:creationId xmlns:a16="http://schemas.microsoft.com/office/drawing/2014/main" id="{48D08A48-F825-0E36-3C75-BBB2D73685B7}"/>
              </a:ext>
            </a:extLst>
          </p:cNvPr>
          <p:cNvSpPr/>
          <p:nvPr/>
        </p:nvSpPr>
        <p:spPr>
          <a:xfrm>
            <a:off x="235389" y="1117804"/>
            <a:ext cx="5810975" cy="625392"/>
          </a:xfrm>
          <a:prstGeom prst="flowChartPunchedCard">
            <a:avLst/>
          </a:prstGeom>
          <a:solidFill>
            <a:srgbClr val="CCF1FF"/>
          </a:solidFill>
          <a:ln w="12700" cap="flat" cmpd="sng">
            <a:solidFill>
              <a:srgbClr val="CCF1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624BDAD-6B64-65EA-B7DE-AEAF9FF73F66}"/>
              </a:ext>
            </a:extLst>
          </p:cNvPr>
          <p:cNvSpPr txBox="1"/>
          <p:nvPr/>
        </p:nvSpPr>
        <p:spPr>
          <a:xfrm>
            <a:off x="1721289" y="1248362"/>
            <a:ext cx="452503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CQUIRE &amp; PREPARE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1" name="Graphic 10" descr="Server outline">
            <a:extLst>
              <a:ext uri="{FF2B5EF4-FFF2-40B4-BE49-F238E27FC236}">
                <a16:creationId xmlns:a16="http://schemas.microsoft.com/office/drawing/2014/main" id="{139A5E70-1649-0DAB-7FFB-E2000997D8A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1357182" y="1258070"/>
            <a:ext cx="411480" cy="41148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776BBAC-7FF2-FDD4-4055-62ACB7DFE7AC}"/>
              </a:ext>
            </a:extLst>
          </p:cNvPr>
          <p:cNvSpPr txBox="1"/>
          <p:nvPr/>
        </p:nvSpPr>
        <p:spPr>
          <a:xfrm>
            <a:off x="273411" y="1975506"/>
            <a:ext cx="5810975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urist data</a:t>
            </a:r>
          </a:p>
          <a:p>
            <a:pPr>
              <a:spcBef>
                <a:spcPts val="600"/>
              </a:spcBef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formation on the number of tourists visiting a destination, their demographics, travel patterns, and spending habits, sentimental comments.</a:t>
            </a:r>
          </a:p>
          <a:p>
            <a:pPr>
              <a:spcBef>
                <a:spcPts val="600"/>
              </a:spcBef>
            </a:pP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b="1" dirty="0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stination data</a:t>
            </a:r>
          </a:p>
          <a:p>
            <a:pPr>
              <a:spcBef>
                <a:spcPts val="600"/>
              </a:spcBef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on the attractions, accommodations, and infrastructure available in a destination, including information on capacity and utilization.</a:t>
            </a:r>
          </a:p>
          <a:p>
            <a:pPr>
              <a:spcBef>
                <a:spcPts val="600"/>
              </a:spcBef>
            </a:pP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b="1" dirty="0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conomic data</a:t>
            </a:r>
          </a:p>
          <a:p>
            <a:pPr>
              <a:spcBef>
                <a:spcPts val="600"/>
              </a:spcBef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on the economic impact of tourism, including revenue generated by the tourism industry, employment, and other relevant indicators.</a:t>
            </a:r>
          </a:p>
          <a:p>
            <a:pPr>
              <a:spcBef>
                <a:spcPts val="600"/>
              </a:spcBef>
            </a:pPr>
            <a:endParaRPr lang="en-US" b="1" dirty="0">
              <a:solidFill>
                <a:schemeClr val="bg2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b="1" dirty="0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vironmental data</a:t>
            </a:r>
          </a:p>
          <a:p>
            <a:pPr>
              <a:spcBef>
                <a:spcPts val="600"/>
              </a:spcBef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on the environmental impact of tourism, including information on energy consumption, waste generation, and other environmental indicators.</a:t>
            </a:r>
          </a:p>
        </p:txBody>
      </p:sp>
      <p:sp>
        <p:nvSpPr>
          <p:cNvPr id="16" name="Google Shape;371;p1">
            <a:extLst>
              <a:ext uri="{FF2B5EF4-FFF2-40B4-BE49-F238E27FC236}">
                <a16:creationId xmlns:a16="http://schemas.microsoft.com/office/drawing/2014/main" id="{2431A3C0-D810-C3D3-B610-23C97AE2B72A}"/>
              </a:ext>
            </a:extLst>
          </p:cNvPr>
          <p:cNvSpPr/>
          <p:nvPr/>
        </p:nvSpPr>
        <p:spPr>
          <a:xfrm>
            <a:off x="6246320" y="1117804"/>
            <a:ext cx="5664791" cy="625392"/>
          </a:xfrm>
          <a:prstGeom prst="rect">
            <a:avLst/>
          </a:prstGeom>
          <a:solidFill>
            <a:srgbClr val="CCF1FF"/>
          </a:solidFill>
          <a:ln w="12700" cap="flat" cmpd="sng">
            <a:solidFill>
              <a:srgbClr val="CCF1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</a:endParaRPr>
          </a:p>
        </p:txBody>
      </p:sp>
      <p:pic>
        <p:nvPicPr>
          <p:cNvPr id="18" name="Graphic 17" descr="Bar chart outline">
            <a:extLst>
              <a:ext uri="{FF2B5EF4-FFF2-40B4-BE49-F238E27FC236}">
                <a16:creationId xmlns:a16="http://schemas.microsoft.com/office/drawing/2014/main" id="{1335EDE6-DC1E-1261-D2ED-02FA22CA954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7206441" y="1287919"/>
            <a:ext cx="411480" cy="35178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9A3A07F-155A-BEAF-518E-9F7B828F379C}"/>
              </a:ext>
            </a:extLst>
          </p:cNvPr>
          <p:cNvSpPr txBox="1"/>
          <p:nvPr/>
        </p:nvSpPr>
        <p:spPr>
          <a:xfrm>
            <a:off x="7713900" y="1248362"/>
            <a:ext cx="2000119" cy="4766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NALYZE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6" name="Google Shape;1636;p75"/>
          <p:cNvSpPr txBox="1"/>
          <p:nvPr/>
        </p:nvSpPr>
        <p:spPr>
          <a:xfrm>
            <a:off x="142504" y="4011287"/>
            <a:ext cx="2732556" cy="1692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E8E8E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8E8E8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“I was really impressed by the responsiveness of the team : they came up with a first and quite impressive dashboard proposition within only a couple of days. I also really appreciated the quality of the work; it was really helpful for us to identify the data cleansing needed in our ERP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E8E8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.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8E8E8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E8E8E"/>
              </a:buClr>
              <a:buSzPts val="12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E8E8E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8E8E8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─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8E8E8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Chief Human Capital Officer (Client)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38" name="Google Shape;1638;p75"/>
          <p:cNvSpPr/>
          <p:nvPr/>
        </p:nvSpPr>
        <p:spPr>
          <a:xfrm>
            <a:off x="6123425" y="547633"/>
            <a:ext cx="2596909" cy="5762734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39" name="Google Shape;1639;p75"/>
          <p:cNvSpPr/>
          <p:nvPr/>
        </p:nvSpPr>
        <p:spPr>
          <a:xfrm>
            <a:off x="9046451" y="547633"/>
            <a:ext cx="2596909" cy="5762734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0" name="Google Shape;1640;p75"/>
          <p:cNvSpPr/>
          <p:nvPr/>
        </p:nvSpPr>
        <p:spPr>
          <a:xfrm>
            <a:off x="3200400" y="547633"/>
            <a:ext cx="2596909" cy="5762734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1" name="Google Shape;1641;p75"/>
          <p:cNvSpPr txBox="1"/>
          <p:nvPr/>
        </p:nvSpPr>
        <p:spPr>
          <a:xfrm>
            <a:off x="3403168" y="1527156"/>
            <a:ext cx="2191373" cy="24006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he client wants to have an automatized Human Resource Dashboard to track, analyze and report on HR KPIs.</a:t>
            </a: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he firm was looking for: 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2" name="Google Shape;1642;p75"/>
          <p:cNvSpPr txBox="1"/>
          <p:nvPr/>
        </p:nvSpPr>
        <p:spPr>
          <a:xfrm>
            <a:off x="6326193" y="1527156"/>
            <a:ext cx="2191373" cy="6001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44444">
                    <a:lumMod val="50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he company decided to use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444444">
                    <a:lumMod val="50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kumimoji="0" lang="en-US" sz="1300" b="1" i="0" u="none" strike="noStrike" kern="0" cap="none" spc="0" normalizeH="0" baseline="0" noProof="0" dirty="0" err="1">
                <a:ln>
                  <a:noFill/>
                </a:ln>
                <a:solidFill>
                  <a:srgbClr val="444444">
                    <a:lumMod val="50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nfomineo’s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444444">
                    <a:lumMod val="50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Data Analytics service as a solution 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44444">
                    <a:lumMod val="50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o cover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444444">
                    <a:lumMod val="50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: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44444">
                  <a:lumMod val="50000"/>
                </a:srgb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3" name="Google Shape;1643;p75"/>
          <p:cNvSpPr txBox="1"/>
          <p:nvPr/>
        </p:nvSpPr>
        <p:spPr>
          <a:xfrm>
            <a:off x="9171006" y="4019289"/>
            <a:ext cx="2456492" cy="2600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stimated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1 FTE 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from the HR department could be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reallocated to other 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Helped the company to start its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Transform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nfomineo has been asked to work with client’s Finance Team to create another dashboar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  <a:tabLst/>
              <a:defRPr/>
            </a:pP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 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4" name="Google Shape;1644;p75"/>
          <p:cNvSpPr/>
          <p:nvPr/>
        </p:nvSpPr>
        <p:spPr>
          <a:xfrm>
            <a:off x="3200400" y="547632"/>
            <a:ext cx="2596908" cy="693792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5" name="Google Shape;1645;p75"/>
          <p:cNvSpPr txBox="1"/>
          <p:nvPr/>
        </p:nvSpPr>
        <p:spPr>
          <a:xfrm>
            <a:off x="3403168" y="665402"/>
            <a:ext cx="1054714" cy="470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  <a:t>Client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  <a:t>Challeng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6" name="Google Shape;1646;p75"/>
          <p:cNvSpPr/>
          <p:nvPr/>
        </p:nvSpPr>
        <p:spPr>
          <a:xfrm>
            <a:off x="4776348" y="446625"/>
            <a:ext cx="867026" cy="895806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7" name="Google Shape;1647;p75"/>
          <p:cNvSpPr/>
          <p:nvPr/>
        </p:nvSpPr>
        <p:spPr>
          <a:xfrm>
            <a:off x="6123425" y="547632"/>
            <a:ext cx="2596908" cy="693792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8" name="Google Shape;1648;p75"/>
          <p:cNvSpPr txBox="1"/>
          <p:nvPr/>
        </p:nvSpPr>
        <p:spPr>
          <a:xfrm>
            <a:off x="6326193" y="665402"/>
            <a:ext cx="867025" cy="470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  <a:t>Our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  <a:t>Solution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9" name="Google Shape;1649;p75"/>
          <p:cNvSpPr/>
          <p:nvPr/>
        </p:nvSpPr>
        <p:spPr>
          <a:xfrm>
            <a:off x="7676160" y="446625"/>
            <a:ext cx="867026" cy="895806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0" name="Google Shape;1650;p75"/>
          <p:cNvSpPr/>
          <p:nvPr/>
        </p:nvSpPr>
        <p:spPr>
          <a:xfrm>
            <a:off x="9046451" y="547632"/>
            <a:ext cx="2596908" cy="693792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1" name="Google Shape;1651;p75"/>
          <p:cNvSpPr txBox="1"/>
          <p:nvPr/>
        </p:nvSpPr>
        <p:spPr>
          <a:xfrm>
            <a:off x="9249219" y="783127"/>
            <a:ext cx="943429" cy="235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  <a:t>Outcome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"/>
              <a:ea typeface="Franklin Gothic"/>
              <a:cs typeface="Franklin Gothic"/>
              <a:sym typeface="Franklin Gothic"/>
            </a:endParaRPr>
          </a:p>
        </p:txBody>
      </p:sp>
      <p:sp>
        <p:nvSpPr>
          <p:cNvPr id="1652" name="Google Shape;1652;p75"/>
          <p:cNvSpPr/>
          <p:nvPr/>
        </p:nvSpPr>
        <p:spPr>
          <a:xfrm>
            <a:off x="10599185" y="446625"/>
            <a:ext cx="867026" cy="895806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53" name="Google Shape;1653;p75"/>
          <p:cNvGrpSpPr/>
          <p:nvPr/>
        </p:nvGrpSpPr>
        <p:grpSpPr>
          <a:xfrm>
            <a:off x="10755642" y="644211"/>
            <a:ext cx="492943" cy="457112"/>
            <a:chOff x="7154863" y="4446588"/>
            <a:chExt cx="527050" cy="506412"/>
          </a:xfrm>
        </p:grpSpPr>
        <p:sp>
          <p:nvSpPr>
            <p:cNvPr id="1654" name="Google Shape;1654;p75"/>
            <p:cNvSpPr/>
            <p:nvPr/>
          </p:nvSpPr>
          <p:spPr>
            <a:xfrm>
              <a:off x="7154863" y="4446588"/>
              <a:ext cx="527050" cy="506412"/>
            </a:xfrm>
            <a:custGeom>
              <a:avLst/>
              <a:gdLst/>
              <a:ahLst/>
              <a:cxnLst/>
              <a:rect l="l" t="t" r="r" b="b"/>
              <a:pathLst>
                <a:path w="840" h="806" extrusionOk="0">
                  <a:moveTo>
                    <a:pt x="831" y="80"/>
                  </a:moveTo>
                  <a:cubicBezTo>
                    <a:pt x="114" y="80"/>
                    <a:pt x="114" y="80"/>
                    <a:pt x="114" y="80"/>
                  </a:cubicBezTo>
                  <a:cubicBezTo>
                    <a:pt x="114" y="8"/>
                    <a:pt x="114" y="8"/>
                    <a:pt x="114" y="8"/>
                  </a:cubicBezTo>
                  <a:cubicBezTo>
                    <a:pt x="114" y="4"/>
                    <a:pt x="110" y="0"/>
                    <a:pt x="105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25" y="0"/>
                    <a:pt x="0" y="25"/>
                    <a:pt x="0" y="57"/>
                  </a:cubicBezTo>
                  <a:cubicBezTo>
                    <a:pt x="0" y="749"/>
                    <a:pt x="0" y="749"/>
                    <a:pt x="0" y="749"/>
                  </a:cubicBezTo>
                  <a:cubicBezTo>
                    <a:pt x="0" y="780"/>
                    <a:pt x="25" y="806"/>
                    <a:pt x="57" y="806"/>
                  </a:cubicBezTo>
                  <a:cubicBezTo>
                    <a:pt x="95" y="806"/>
                    <a:pt x="95" y="806"/>
                    <a:pt x="95" y="806"/>
                  </a:cubicBezTo>
                  <a:cubicBezTo>
                    <a:pt x="105" y="806"/>
                    <a:pt x="105" y="806"/>
                    <a:pt x="105" y="806"/>
                  </a:cubicBezTo>
                  <a:cubicBezTo>
                    <a:pt x="831" y="806"/>
                    <a:pt x="831" y="806"/>
                    <a:pt x="831" y="806"/>
                  </a:cubicBezTo>
                  <a:cubicBezTo>
                    <a:pt x="836" y="806"/>
                    <a:pt x="840" y="802"/>
                    <a:pt x="840" y="797"/>
                  </a:cubicBezTo>
                  <a:cubicBezTo>
                    <a:pt x="840" y="89"/>
                    <a:pt x="840" y="89"/>
                    <a:pt x="840" y="89"/>
                  </a:cubicBezTo>
                  <a:cubicBezTo>
                    <a:pt x="840" y="84"/>
                    <a:pt x="836" y="80"/>
                    <a:pt x="831" y="80"/>
                  </a:cubicBezTo>
                  <a:close/>
                  <a:moveTo>
                    <a:pt x="57" y="17"/>
                  </a:moveTo>
                  <a:cubicBezTo>
                    <a:pt x="97" y="17"/>
                    <a:pt x="97" y="17"/>
                    <a:pt x="97" y="17"/>
                  </a:cubicBezTo>
                  <a:cubicBezTo>
                    <a:pt x="97" y="692"/>
                    <a:pt x="97" y="692"/>
                    <a:pt x="97" y="692"/>
                  </a:cubicBezTo>
                  <a:cubicBezTo>
                    <a:pt x="57" y="692"/>
                    <a:pt x="57" y="692"/>
                    <a:pt x="57" y="692"/>
                  </a:cubicBezTo>
                  <a:cubicBezTo>
                    <a:pt x="41" y="692"/>
                    <a:pt x="27" y="698"/>
                    <a:pt x="17" y="70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35"/>
                    <a:pt x="35" y="17"/>
                    <a:pt x="57" y="17"/>
                  </a:cubicBezTo>
                  <a:close/>
                  <a:moveTo>
                    <a:pt x="823" y="788"/>
                  </a:moveTo>
                  <a:cubicBezTo>
                    <a:pt x="105" y="788"/>
                    <a:pt x="105" y="788"/>
                    <a:pt x="105" y="788"/>
                  </a:cubicBezTo>
                  <a:cubicBezTo>
                    <a:pt x="95" y="788"/>
                    <a:pt x="95" y="788"/>
                    <a:pt x="95" y="788"/>
                  </a:cubicBezTo>
                  <a:cubicBezTo>
                    <a:pt x="57" y="788"/>
                    <a:pt x="57" y="788"/>
                    <a:pt x="57" y="788"/>
                  </a:cubicBezTo>
                  <a:cubicBezTo>
                    <a:pt x="35" y="788"/>
                    <a:pt x="17" y="771"/>
                    <a:pt x="17" y="749"/>
                  </a:cubicBezTo>
                  <a:cubicBezTo>
                    <a:pt x="17" y="727"/>
                    <a:pt x="35" y="709"/>
                    <a:pt x="57" y="709"/>
                  </a:cubicBezTo>
                  <a:cubicBezTo>
                    <a:pt x="105" y="709"/>
                    <a:pt x="105" y="709"/>
                    <a:pt x="105" y="709"/>
                  </a:cubicBezTo>
                  <a:cubicBezTo>
                    <a:pt x="110" y="709"/>
                    <a:pt x="114" y="705"/>
                    <a:pt x="114" y="700"/>
                  </a:cubicBezTo>
                  <a:cubicBezTo>
                    <a:pt x="114" y="98"/>
                    <a:pt x="114" y="98"/>
                    <a:pt x="114" y="98"/>
                  </a:cubicBezTo>
                  <a:cubicBezTo>
                    <a:pt x="823" y="98"/>
                    <a:pt x="823" y="98"/>
                    <a:pt x="823" y="98"/>
                  </a:cubicBezTo>
                  <a:lnTo>
                    <a:pt x="823" y="788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5" name="Google Shape;1655;p75"/>
            <p:cNvSpPr/>
            <p:nvPr/>
          </p:nvSpPr>
          <p:spPr>
            <a:xfrm>
              <a:off x="7275513" y="4554538"/>
              <a:ext cx="344488" cy="336550"/>
            </a:xfrm>
            <a:custGeom>
              <a:avLst/>
              <a:gdLst/>
              <a:ahLst/>
              <a:cxnLst/>
              <a:rect l="l" t="t" r="r" b="b"/>
              <a:pathLst>
                <a:path w="549" h="537" extrusionOk="0">
                  <a:moveTo>
                    <a:pt x="4" y="226"/>
                  </a:moveTo>
                  <a:cubicBezTo>
                    <a:pt x="71" y="293"/>
                    <a:pt x="71" y="293"/>
                    <a:pt x="71" y="293"/>
                  </a:cubicBezTo>
                  <a:cubicBezTo>
                    <a:pt x="73" y="295"/>
                    <a:pt x="75" y="296"/>
                    <a:pt x="77" y="296"/>
                  </a:cubicBezTo>
                  <a:cubicBezTo>
                    <a:pt x="79" y="296"/>
                    <a:pt x="81" y="295"/>
                    <a:pt x="83" y="293"/>
                  </a:cubicBezTo>
                  <a:cubicBezTo>
                    <a:pt x="148" y="229"/>
                    <a:pt x="148" y="229"/>
                    <a:pt x="148" y="229"/>
                  </a:cubicBezTo>
                  <a:cubicBezTo>
                    <a:pt x="295" y="229"/>
                    <a:pt x="295" y="229"/>
                    <a:pt x="295" y="229"/>
                  </a:cubicBezTo>
                  <a:cubicBezTo>
                    <a:pt x="437" y="229"/>
                    <a:pt x="437" y="229"/>
                    <a:pt x="437" y="229"/>
                  </a:cubicBezTo>
                  <a:cubicBezTo>
                    <a:pt x="437" y="268"/>
                    <a:pt x="437" y="268"/>
                    <a:pt x="437" y="268"/>
                  </a:cubicBezTo>
                  <a:cubicBezTo>
                    <a:pt x="437" y="272"/>
                    <a:pt x="441" y="276"/>
                    <a:pt x="446" y="276"/>
                  </a:cubicBezTo>
                  <a:cubicBezTo>
                    <a:pt x="484" y="276"/>
                    <a:pt x="484" y="276"/>
                    <a:pt x="484" y="276"/>
                  </a:cubicBezTo>
                  <a:cubicBezTo>
                    <a:pt x="484" y="418"/>
                    <a:pt x="484" y="418"/>
                    <a:pt x="484" y="418"/>
                  </a:cubicBezTo>
                  <a:cubicBezTo>
                    <a:pt x="460" y="422"/>
                    <a:pt x="442" y="441"/>
                    <a:pt x="438" y="465"/>
                  </a:cubicBezTo>
                  <a:cubicBezTo>
                    <a:pt x="116" y="465"/>
                    <a:pt x="116" y="465"/>
                    <a:pt x="116" y="465"/>
                  </a:cubicBezTo>
                  <a:cubicBezTo>
                    <a:pt x="116" y="419"/>
                    <a:pt x="116" y="419"/>
                    <a:pt x="116" y="419"/>
                  </a:cubicBezTo>
                  <a:cubicBezTo>
                    <a:pt x="116" y="416"/>
                    <a:pt x="115" y="413"/>
                    <a:pt x="112" y="411"/>
                  </a:cubicBezTo>
                  <a:cubicBezTo>
                    <a:pt x="110" y="410"/>
                    <a:pt x="106" y="410"/>
                    <a:pt x="104" y="411"/>
                  </a:cubicBezTo>
                  <a:cubicBezTo>
                    <a:pt x="9" y="466"/>
                    <a:pt x="9" y="466"/>
                    <a:pt x="9" y="466"/>
                  </a:cubicBezTo>
                  <a:cubicBezTo>
                    <a:pt x="6" y="468"/>
                    <a:pt x="5" y="470"/>
                    <a:pt x="5" y="474"/>
                  </a:cubicBezTo>
                  <a:cubicBezTo>
                    <a:pt x="5" y="477"/>
                    <a:pt x="6" y="479"/>
                    <a:pt x="9" y="481"/>
                  </a:cubicBezTo>
                  <a:cubicBezTo>
                    <a:pt x="104" y="536"/>
                    <a:pt x="104" y="536"/>
                    <a:pt x="104" y="536"/>
                  </a:cubicBezTo>
                  <a:cubicBezTo>
                    <a:pt x="105" y="536"/>
                    <a:pt x="106" y="537"/>
                    <a:pt x="108" y="537"/>
                  </a:cubicBezTo>
                  <a:cubicBezTo>
                    <a:pt x="109" y="537"/>
                    <a:pt x="111" y="536"/>
                    <a:pt x="112" y="536"/>
                  </a:cubicBezTo>
                  <a:cubicBezTo>
                    <a:pt x="115" y="534"/>
                    <a:pt x="116" y="531"/>
                    <a:pt x="116" y="528"/>
                  </a:cubicBezTo>
                  <a:cubicBezTo>
                    <a:pt x="116" y="482"/>
                    <a:pt x="116" y="482"/>
                    <a:pt x="116" y="482"/>
                  </a:cubicBezTo>
                  <a:cubicBezTo>
                    <a:pt x="438" y="482"/>
                    <a:pt x="438" y="482"/>
                    <a:pt x="438" y="482"/>
                  </a:cubicBezTo>
                  <a:cubicBezTo>
                    <a:pt x="442" y="509"/>
                    <a:pt x="465" y="530"/>
                    <a:pt x="493" y="530"/>
                  </a:cubicBezTo>
                  <a:cubicBezTo>
                    <a:pt x="524" y="530"/>
                    <a:pt x="549" y="504"/>
                    <a:pt x="549" y="474"/>
                  </a:cubicBezTo>
                  <a:cubicBezTo>
                    <a:pt x="549" y="446"/>
                    <a:pt x="528" y="423"/>
                    <a:pt x="502" y="418"/>
                  </a:cubicBezTo>
                  <a:cubicBezTo>
                    <a:pt x="502" y="276"/>
                    <a:pt x="502" y="276"/>
                    <a:pt x="502" y="276"/>
                  </a:cubicBezTo>
                  <a:cubicBezTo>
                    <a:pt x="540" y="276"/>
                    <a:pt x="540" y="276"/>
                    <a:pt x="540" y="276"/>
                  </a:cubicBezTo>
                  <a:cubicBezTo>
                    <a:pt x="545" y="276"/>
                    <a:pt x="549" y="272"/>
                    <a:pt x="549" y="268"/>
                  </a:cubicBezTo>
                  <a:cubicBezTo>
                    <a:pt x="549" y="173"/>
                    <a:pt x="549" y="173"/>
                    <a:pt x="549" y="173"/>
                  </a:cubicBezTo>
                  <a:cubicBezTo>
                    <a:pt x="549" y="168"/>
                    <a:pt x="545" y="164"/>
                    <a:pt x="540" y="164"/>
                  </a:cubicBezTo>
                  <a:cubicBezTo>
                    <a:pt x="446" y="164"/>
                    <a:pt x="446" y="164"/>
                    <a:pt x="446" y="164"/>
                  </a:cubicBezTo>
                  <a:cubicBezTo>
                    <a:pt x="441" y="164"/>
                    <a:pt x="437" y="168"/>
                    <a:pt x="437" y="173"/>
                  </a:cubicBezTo>
                  <a:cubicBezTo>
                    <a:pt x="437" y="212"/>
                    <a:pt x="437" y="212"/>
                    <a:pt x="437" y="212"/>
                  </a:cubicBezTo>
                  <a:cubicBezTo>
                    <a:pt x="303" y="212"/>
                    <a:pt x="303" y="212"/>
                    <a:pt x="303" y="212"/>
                  </a:cubicBezTo>
                  <a:cubicBezTo>
                    <a:pt x="303" y="140"/>
                    <a:pt x="303" y="140"/>
                    <a:pt x="303" y="140"/>
                  </a:cubicBezTo>
                  <a:cubicBezTo>
                    <a:pt x="338" y="136"/>
                    <a:pt x="365" y="107"/>
                    <a:pt x="365" y="71"/>
                  </a:cubicBezTo>
                  <a:cubicBezTo>
                    <a:pt x="365" y="32"/>
                    <a:pt x="334" y="0"/>
                    <a:pt x="295" y="0"/>
                  </a:cubicBezTo>
                  <a:cubicBezTo>
                    <a:pt x="259" y="0"/>
                    <a:pt x="230" y="27"/>
                    <a:pt x="225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2" y="62"/>
                    <a:pt x="68" y="66"/>
                    <a:pt x="68" y="71"/>
                  </a:cubicBezTo>
                  <a:cubicBezTo>
                    <a:pt x="68" y="150"/>
                    <a:pt x="68" y="150"/>
                    <a:pt x="68" y="150"/>
                  </a:cubicBezTo>
                  <a:cubicBezTo>
                    <a:pt x="4" y="214"/>
                    <a:pt x="4" y="214"/>
                    <a:pt x="4" y="214"/>
                  </a:cubicBezTo>
                  <a:cubicBezTo>
                    <a:pt x="0" y="217"/>
                    <a:pt x="0" y="223"/>
                    <a:pt x="4" y="226"/>
                  </a:cubicBezTo>
                  <a:close/>
                  <a:moveTo>
                    <a:pt x="99" y="513"/>
                  </a:moveTo>
                  <a:cubicBezTo>
                    <a:pt x="30" y="474"/>
                    <a:pt x="30" y="474"/>
                    <a:pt x="30" y="474"/>
                  </a:cubicBezTo>
                  <a:cubicBezTo>
                    <a:pt x="99" y="434"/>
                    <a:pt x="99" y="434"/>
                    <a:pt x="99" y="434"/>
                  </a:cubicBezTo>
                  <a:lnTo>
                    <a:pt x="99" y="513"/>
                  </a:lnTo>
                  <a:close/>
                  <a:moveTo>
                    <a:pt x="532" y="474"/>
                  </a:moveTo>
                  <a:cubicBezTo>
                    <a:pt x="532" y="495"/>
                    <a:pt x="514" y="512"/>
                    <a:pt x="493" y="512"/>
                  </a:cubicBezTo>
                  <a:cubicBezTo>
                    <a:pt x="472" y="512"/>
                    <a:pt x="454" y="495"/>
                    <a:pt x="454" y="474"/>
                  </a:cubicBezTo>
                  <a:cubicBezTo>
                    <a:pt x="454" y="452"/>
                    <a:pt x="472" y="435"/>
                    <a:pt x="493" y="435"/>
                  </a:cubicBezTo>
                  <a:cubicBezTo>
                    <a:pt x="514" y="435"/>
                    <a:pt x="532" y="452"/>
                    <a:pt x="532" y="474"/>
                  </a:cubicBezTo>
                  <a:close/>
                  <a:moveTo>
                    <a:pt x="454" y="181"/>
                  </a:moveTo>
                  <a:cubicBezTo>
                    <a:pt x="532" y="181"/>
                    <a:pt x="532" y="181"/>
                    <a:pt x="532" y="181"/>
                  </a:cubicBezTo>
                  <a:cubicBezTo>
                    <a:pt x="532" y="259"/>
                    <a:pt x="532" y="259"/>
                    <a:pt x="532" y="259"/>
                  </a:cubicBezTo>
                  <a:cubicBezTo>
                    <a:pt x="454" y="259"/>
                    <a:pt x="454" y="259"/>
                    <a:pt x="454" y="259"/>
                  </a:cubicBezTo>
                  <a:lnTo>
                    <a:pt x="454" y="181"/>
                  </a:lnTo>
                  <a:close/>
                  <a:moveTo>
                    <a:pt x="295" y="17"/>
                  </a:moveTo>
                  <a:cubicBezTo>
                    <a:pt x="324" y="17"/>
                    <a:pt x="348" y="41"/>
                    <a:pt x="348" y="71"/>
                  </a:cubicBezTo>
                  <a:cubicBezTo>
                    <a:pt x="348" y="100"/>
                    <a:pt x="324" y="124"/>
                    <a:pt x="295" y="124"/>
                  </a:cubicBezTo>
                  <a:cubicBezTo>
                    <a:pt x="265" y="124"/>
                    <a:pt x="242" y="100"/>
                    <a:pt x="242" y="71"/>
                  </a:cubicBezTo>
                  <a:cubicBezTo>
                    <a:pt x="242" y="41"/>
                    <a:pt x="265" y="17"/>
                    <a:pt x="295" y="17"/>
                  </a:cubicBezTo>
                  <a:close/>
                  <a:moveTo>
                    <a:pt x="225" y="79"/>
                  </a:moveTo>
                  <a:cubicBezTo>
                    <a:pt x="229" y="111"/>
                    <a:pt x="254" y="136"/>
                    <a:pt x="286" y="14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86" y="150"/>
                    <a:pt x="86" y="150"/>
                    <a:pt x="86" y="150"/>
                  </a:cubicBezTo>
                  <a:cubicBezTo>
                    <a:pt x="86" y="79"/>
                    <a:pt x="86" y="79"/>
                    <a:pt x="86" y="79"/>
                  </a:cubicBezTo>
                  <a:lnTo>
                    <a:pt x="225" y="79"/>
                  </a:lnTo>
                  <a:close/>
                  <a:moveTo>
                    <a:pt x="77" y="165"/>
                  </a:moveTo>
                  <a:cubicBezTo>
                    <a:pt x="132" y="220"/>
                    <a:pt x="132" y="220"/>
                    <a:pt x="132" y="220"/>
                  </a:cubicBezTo>
                  <a:cubicBezTo>
                    <a:pt x="77" y="275"/>
                    <a:pt x="77" y="275"/>
                    <a:pt x="77" y="275"/>
                  </a:cubicBezTo>
                  <a:cubicBezTo>
                    <a:pt x="22" y="220"/>
                    <a:pt x="22" y="220"/>
                    <a:pt x="22" y="220"/>
                  </a:cubicBezTo>
                  <a:lnTo>
                    <a:pt x="77" y="165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656" name="Google Shape;1656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9400" y="560588"/>
            <a:ext cx="848783" cy="766477"/>
          </a:xfrm>
          <a:prstGeom prst="rect">
            <a:avLst/>
          </a:prstGeom>
          <a:noFill/>
          <a:ln>
            <a:noFill/>
          </a:ln>
        </p:spPr>
      </p:pic>
      <p:sp>
        <p:nvSpPr>
          <p:cNvPr id="1657" name="Google Shape;1657;p75"/>
          <p:cNvSpPr txBox="1"/>
          <p:nvPr/>
        </p:nvSpPr>
        <p:spPr>
          <a:xfrm>
            <a:off x="1534212" y="560588"/>
            <a:ext cx="1446457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  <a:t>CASE</a:t>
            </a:r>
            <a:b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</a:b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  <a:t>STUDY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58" name="Google Shape;1658;p75"/>
          <p:cNvCxnSpPr/>
          <p:nvPr/>
        </p:nvCxnSpPr>
        <p:spPr>
          <a:xfrm>
            <a:off x="539400" y="1479434"/>
            <a:ext cx="2314257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59" name="Google Shape;1659;p75"/>
          <p:cNvSpPr txBox="1"/>
          <p:nvPr/>
        </p:nvSpPr>
        <p:spPr>
          <a:xfrm>
            <a:off x="563344" y="1610994"/>
            <a:ext cx="233413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  <a:t>Client: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60" name="Google Shape;1660;p75"/>
          <p:cNvSpPr txBox="1"/>
          <p:nvPr/>
        </p:nvSpPr>
        <p:spPr>
          <a:xfrm>
            <a:off x="563344" y="1930557"/>
            <a:ext cx="2314257" cy="20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 multinational firm</a:t>
            </a: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61" name="Google Shape;1661;p7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801470" y="595174"/>
            <a:ext cx="601166" cy="60116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62" name="Google Shape;1662;p7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914272" y="598939"/>
            <a:ext cx="591178" cy="59117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63" name="Google Shape;1663;p75"/>
          <p:cNvGrpSpPr/>
          <p:nvPr/>
        </p:nvGrpSpPr>
        <p:grpSpPr>
          <a:xfrm>
            <a:off x="3371589" y="3345510"/>
            <a:ext cx="457200" cy="457200"/>
            <a:chOff x="5019786" y="5350940"/>
            <a:chExt cx="457200" cy="457200"/>
          </a:xfrm>
        </p:grpSpPr>
        <p:sp>
          <p:nvSpPr>
            <p:cNvPr id="1664" name="Google Shape;1664;p75"/>
            <p:cNvSpPr/>
            <p:nvPr/>
          </p:nvSpPr>
          <p:spPr>
            <a:xfrm>
              <a:off x="5019786" y="5350940"/>
              <a:ext cx="457200" cy="457200"/>
            </a:xfrm>
            <a:prstGeom prst="ellipse">
              <a:avLst/>
            </a:prstGeom>
            <a:noFill/>
            <a:ln w="12700" cap="flat" cmpd="sng">
              <a:solidFill>
                <a:srgbClr val="0F47F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65" name="Google Shape;1665;p75" descr="Gears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5065506" y="5401573"/>
              <a:ext cx="365760" cy="36576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666" name="Google Shape;1666;p75"/>
          <p:cNvGrpSpPr/>
          <p:nvPr/>
        </p:nvGrpSpPr>
        <p:grpSpPr>
          <a:xfrm>
            <a:off x="3371589" y="4228244"/>
            <a:ext cx="457200" cy="457200"/>
            <a:chOff x="3378894" y="3514738"/>
            <a:chExt cx="457200" cy="457200"/>
          </a:xfrm>
        </p:grpSpPr>
        <p:pic>
          <p:nvPicPr>
            <p:cNvPr id="1667" name="Google Shape;1667;p75" descr="Arrow circle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3424614" y="3560458"/>
              <a:ext cx="365760" cy="36576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68" name="Google Shape;1668;p75"/>
            <p:cNvSpPr/>
            <p:nvPr/>
          </p:nvSpPr>
          <p:spPr>
            <a:xfrm>
              <a:off x="3378894" y="3514738"/>
              <a:ext cx="457200" cy="457200"/>
            </a:xfrm>
            <a:prstGeom prst="ellipse">
              <a:avLst/>
            </a:prstGeom>
            <a:noFill/>
            <a:ln w="12700" cap="flat" cmpd="sng">
              <a:solidFill>
                <a:srgbClr val="0F47F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669" name="Google Shape;1669;p75"/>
          <p:cNvGrpSpPr/>
          <p:nvPr/>
        </p:nvGrpSpPr>
        <p:grpSpPr>
          <a:xfrm>
            <a:off x="3371589" y="5110978"/>
            <a:ext cx="457200" cy="457200"/>
            <a:chOff x="3396648" y="4559261"/>
            <a:chExt cx="457200" cy="457200"/>
          </a:xfrm>
        </p:grpSpPr>
        <p:sp>
          <p:nvSpPr>
            <p:cNvPr id="1670" name="Google Shape;1670;p75"/>
            <p:cNvSpPr/>
            <p:nvPr/>
          </p:nvSpPr>
          <p:spPr>
            <a:xfrm>
              <a:off x="3396648" y="4559261"/>
              <a:ext cx="457200" cy="457200"/>
            </a:xfrm>
            <a:prstGeom prst="ellipse">
              <a:avLst/>
            </a:prstGeom>
            <a:noFill/>
            <a:ln w="12700" cap="flat" cmpd="sng">
              <a:solidFill>
                <a:srgbClr val="0F47F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71" name="Google Shape;1671;p75" descr="Dollar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3442368" y="4633632"/>
              <a:ext cx="365760" cy="30845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72" name="Google Shape;1672;p75"/>
          <p:cNvSpPr txBox="1"/>
          <p:nvPr/>
        </p:nvSpPr>
        <p:spPr>
          <a:xfrm>
            <a:off x="3942673" y="5015225"/>
            <a:ext cx="1645920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Lower cost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han buying from a specialized company an HR Dashboard tool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3" name="Google Shape;1673;p75"/>
          <p:cNvSpPr txBox="1"/>
          <p:nvPr/>
        </p:nvSpPr>
        <p:spPr>
          <a:xfrm>
            <a:off x="5174046" y="6945699"/>
            <a:ext cx="65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4" name="Google Shape;1674;p75"/>
          <p:cNvSpPr txBox="1"/>
          <p:nvPr/>
        </p:nvSpPr>
        <p:spPr>
          <a:xfrm>
            <a:off x="3911159" y="3358667"/>
            <a:ext cx="164592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ffective and quick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olution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5" name="Google Shape;1675;p75"/>
          <p:cNvSpPr txBox="1"/>
          <p:nvPr/>
        </p:nvSpPr>
        <p:spPr>
          <a:xfrm>
            <a:off x="3953388" y="4232199"/>
            <a:ext cx="1645920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mooth integration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with its existing ERPs 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6" name="Google Shape;1676;p75"/>
          <p:cNvSpPr txBox="1"/>
          <p:nvPr/>
        </p:nvSpPr>
        <p:spPr>
          <a:xfrm>
            <a:off x="7095831" y="5002699"/>
            <a:ext cx="1606010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d-hoc deliverables 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ictionaries, Creation of Metadata, Data Quality on boarding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60" name="Google Shape;1760;p75"/>
          <p:cNvSpPr txBox="1"/>
          <p:nvPr/>
        </p:nvSpPr>
        <p:spPr>
          <a:xfrm>
            <a:off x="7068738" y="2355848"/>
            <a:ext cx="1597572" cy="2369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Quality &amp; Consistency problem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between the various Data sources 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shboard creation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hat reflects HR Team need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61" name="Google Shape;1761;p75"/>
          <p:cNvSpPr txBox="1"/>
          <p:nvPr/>
        </p:nvSpPr>
        <p:spPr>
          <a:xfrm>
            <a:off x="9174577" y="1527156"/>
            <a:ext cx="2188748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he firm recognized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hat the quality of the Data Analytics service provided a useful reporting tool 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resulting in:</a:t>
            </a: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66" name="Google Shape;1766;p75"/>
          <p:cNvGrpSpPr/>
          <p:nvPr/>
        </p:nvGrpSpPr>
        <p:grpSpPr>
          <a:xfrm>
            <a:off x="6272659" y="5145991"/>
            <a:ext cx="590748" cy="569622"/>
            <a:chOff x="6427826" y="3563396"/>
            <a:chExt cx="457200" cy="457200"/>
          </a:xfrm>
        </p:grpSpPr>
        <p:pic>
          <p:nvPicPr>
            <p:cNvPr id="1767" name="Google Shape;1767;p75" descr="List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6473546" y="3601070"/>
              <a:ext cx="365760" cy="36576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68" name="Google Shape;1768;p75"/>
            <p:cNvSpPr/>
            <p:nvPr/>
          </p:nvSpPr>
          <p:spPr>
            <a:xfrm>
              <a:off x="6427826" y="3563396"/>
              <a:ext cx="457200" cy="457200"/>
            </a:xfrm>
            <a:prstGeom prst="ellipse">
              <a:avLst/>
            </a:prstGeom>
            <a:noFill/>
            <a:ln w="12700" cap="flat" cmpd="sng">
              <a:solidFill>
                <a:srgbClr val="0F47F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769" name="Google Shape;1769;p75"/>
          <p:cNvGrpSpPr/>
          <p:nvPr/>
        </p:nvGrpSpPr>
        <p:grpSpPr>
          <a:xfrm>
            <a:off x="372862" y="3602729"/>
            <a:ext cx="2524618" cy="416560"/>
            <a:chOff x="550863" y="4854495"/>
            <a:chExt cx="3188017" cy="416560"/>
          </a:xfrm>
        </p:grpSpPr>
        <p:cxnSp>
          <p:nvCxnSpPr>
            <p:cNvPr id="1770" name="Google Shape;1770;p75"/>
            <p:cNvCxnSpPr/>
            <p:nvPr/>
          </p:nvCxnSpPr>
          <p:spPr>
            <a:xfrm>
              <a:off x="550863" y="5059680"/>
              <a:ext cx="3188017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771" name="Google Shape;1771;p75"/>
            <p:cNvSpPr/>
            <p:nvPr/>
          </p:nvSpPr>
          <p:spPr>
            <a:xfrm>
              <a:off x="1936591" y="4854495"/>
              <a:ext cx="416560" cy="41656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772" name="Google Shape;1772;p75"/>
            <p:cNvGrpSpPr/>
            <p:nvPr/>
          </p:nvGrpSpPr>
          <p:grpSpPr>
            <a:xfrm>
              <a:off x="1994217" y="4949317"/>
              <a:ext cx="301308" cy="220726"/>
              <a:chOff x="5754688" y="3178175"/>
              <a:chExt cx="682626" cy="500063"/>
            </a:xfrm>
          </p:grpSpPr>
          <p:sp>
            <p:nvSpPr>
              <p:cNvPr id="1773" name="Google Shape;1773;p75"/>
              <p:cNvSpPr/>
              <p:nvPr/>
            </p:nvSpPr>
            <p:spPr>
              <a:xfrm>
                <a:off x="5754688" y="3178175"/>
                <a:ext cx="315913" cy="500063"/>
              </a:xfrm>
              <a:custGeom>
                <a:avLst/>
                <a:gdLst/>
                <a:ahLst/>
                <a:cxnLst/>
                <a:rect l="l" t="t" r="r" b="b"/>
                <a:pathLst>
                  <a:path w="83" h="130" extrusionOk="0">
                    <a:moveTo>
                      <a:pt x="41" y="0"/>
                    </a:moveTo>
                    <a:cubicBezTo>
                      <a:pt x="52" y="0"/>
                      <a:pt x="62" y="5"/>
                      <a:pt x="70" y="14"/>
                    </a:cubicBezTo>
                    <a:cubicBezTo>
                      <a:pt x="74" y="18"/>
                      <a:pt x="77" y="23"/>
                      <a:pt x="79" y="29"/>
                    </a:cubicBezTo>
                    <a:cubicBezTo>
                      <a:pt x="82" y="35"/>
                      <a:pt x="83" y="41"/>
                      <a:pt x="83" y="47"/>
                    </a:cubicBezTo>
                    <a:cubicBezTo>
                      <a:pt x="83" y="59"/>
                      <a:pt x="79" y="72"/>
                      <a:pt x="70" y="85"/>
                    </a:cubicBezTo>
                    <a:cubicBezTo>
                      <a:pt x="62" y="98"/>
                      <a:pt x="51" y="109"/>
                      <a:pt x="37" y="118"/>
                    </a:cubicBezTo>
                    <a:cubicBezTo>
                      <a:pt x="26" y="126"/>
                      <a:pt x="16" y="130"/>
                      <a:pt x="10" y="130"/>
                    </a:cubicBezTo>
                    <a:cubicBezTo>
                      <a:pt x="7" y="130"/>
                      <a:pt x="5" y="129"/>
                      <a:pt x="3" y="127"/>
                    </a:cubicBezTo>
                    <a:cubicBezTo>
                      <a:pt x="1" y="126"/>
                      <a:pt x="0" y="124"/>
                      <a:pt x="0" y="121"/>
                    </a:cubicBezTo>
                    <a:cubicBezTo>
                      <a:pt x="0" y="117"/>
                      <a:pt x="3" y="114"/>
                      <a:pt x="8" y="111"/>
                    </a:cubicBezTo>
                    <a:cubicBezTo>
                      <a:pt x="20" y="105"/>
                      <a:pt x="29" y="99"/>
                      <a:pt x="35" y="92"/>
                    </a:cubicBezTo>
                    <a:cubicBezTo>
                      <a:pt x="40" y="87"/>
                      <a:pt x="43" y="82"/>
                      <a:pt x="43" y="80"/>
                    </a:cubicBezTo>
                    <a:cubicBezTo>
                      <a:pt x="43" y="77"/>
                      <a:pt x="41" y="76"/>
                      <a:pt x="37" y="75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22" y="73"/>
                      <a:pt x="15" y="69"/>
                      <a:pt x="10" y="63"/>
                    </a:cubicBezTo>
                    <a:cubicBezTo>
                      <a:pt x="5" y="56"/>
                      <a:pt x="2" y="48"/>
                      <a:pt x="2" y="38"/>
                    </a:cubicBezTo>
                    <a:cubicBezTo>
                      <a:pt x="2" y="28"/>
                      <a:pt x="5" y="20"/>
                      <a:pt x="12" y="12"/>
                    </a:cubicBezTo>
                    <a:cubicBezTo>
                      <a:pt x="19" y="4"/>
                      <a:pt x="29" y="0"/>
                      <a:pt x="4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4" name="Google Shape;1774;p75"/>
              <p:cNvSpPr/>
              <p:nvPr/>
            </p:nvSpPr>
            <p:spPr>
              <a:xfrm>
                <a:off x="6121401" y="3178175"/>
                <a:ext cx="315913" cy="500063"/>
              </a:xfrm>
              <a:custGeom>
                <a:avLst/>
                <a:gdLst/>
                <a:ahLst/>
                <a:cxnLst/>
                <a:rect l="l" t="t" r="r" b="b"/>
                <a:pathLst>
                  <a:path w="83" h="130" extrusionOk="0">
                    <a:moveTo>
                      <a:pt x="41" y="0"/>
                    </a:moveTo>
                    <a:cubicBezTo>
                      <a:pt x="52" y="0"/>
                      <a:pt x="62" y="5"/>
                      <a:pt x="70" y="14"/>
                    </a:cubicBezTo>
                    <a:cubicBezTo>
                      <a:pt x="74" y="18"/>
                      <a:pt x="77" y="23"/>
                      <a:pt x="79" y="29"/>
                    </a:cubicBezTo>
                    <a:cubicBezTo>
                      <a:pt x="82" y="35"/>
                      <a:pt x="83" y="41"/>
                      <a:pt x="83" y="47"/>
                    </a:cubicBezTo>
                    <a:cubicBezTo>
                      <a:pt x="83" y="59"/>
                      <a:pt x="79" y="72"/>
                      <a:pt x="70" y="85"/>
                    </a:cubicBezTo>
                    <a:cubicBezTo>
                      <a:pt x="62" y="98"/>
                      <a:pt x="51" y="109"/>
                      <a:pt x="37" y="118"/>
                    </a:cubicBezTo>
                    <a:cubicBezTo>
                      <a:pt x="25" y="126"/>
                      <a:pt x="16" y="130"/>
                      <a:pt x="9" y="130"/>
                    </a:cubicBezTo>
                    <a:cubicBezTo>
                      <a:pt x="7" y="130"/>
                      <a:pt x="5" y="129"/>
                      <a:pt x="3" y="127"/>
                    </a:cubicBezTo>
                    <a:cubicBezTo>
                      <a:pt x="1" y="126"/>
                      <a:pt x="0" y="124"/>
                      <a:pt x="0" y="121"/>
                    </a:cubicBezTo>
                    <a:cubicBezTo>
                      <a:pt x="0" y="117"/>
                      <a:pt x="3" y="114"/>
                      <a:pt x="8" y="111"/>
                    </a:cubicBezTo>
                    <a:cubicBezTo>
                      <a:pt x="20" y="105"/>
                      <a:pt x="29" y="99"/>
                      <a:pt x="35" y="92"/>
                    </a:cubicBezTo>
                    <a:cubicBezTo>
                      <a:pt x="40" y="87"/>
                      <a:pt x="43" y="82"/>
                      <a:pt x="43" y="80"/>
                    </a:cubicBezTo>
                    <a:cubicBezTo>
                      <a:pt x="43" y="77"/>
                      <a:pt x="41" y="76"/>
                      <a:pt x="37" y="75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22" y="73"/>
                      <a:pt x="15" y="69"/>
                      <a:pt x="10" y="63"/>
                    </a:cubicBezTo>
                    <a:cubicBezTo>
                      <a:pt x="4" y="56"/>
                      <a:pt x="2" y="48"/>
                      <a:pt x="2" y="38"/>
                    </a:cubicBezTo>
                    <a:cubicBezTo>
                      <a:pt x="2" y="28"/>
                      <a:pt x="5" y="20"/>
                      <a:pt x="12" y="12"/>
                    </a:cubicBezTo>
                    <a:cubicBezTo>
                      <a:pt x="19" y="4"/>
                      <a:pt x="29" y="0"/>
                      <a:pt x="4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1775" name="Google Shape;1775;p75"/>
          <p:cNvGrpSpPr/>
          <p:nvPr/>
        </p:nvGrpSpPr>
        <p:grpSpPr>
          <a:xfrm>
            <a:off x="374340" y="5701763"/>
            <a:ext cx="2524618" cy="416560"/>
            <a:chOff x="550863" y="4854495"/>
            <a:chExt cx="3188017" cy="416560"/>
          </a:xfrm>
        </p:grpSpPr>
        <p:cxnSp>
          <p:nvCxnSpPr>
            <p:cNvPr id="1776" name="Google Shape;1776;p75"/>
            <p:cNvCxnSpPr/>
            <p:nvPr/>
          </p:nvCxnSpPr>
          <p:spPr>
            <a:xfrm>
              <a:off x="550863" y="5059680"/>
              <a:ext cx="3188017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777" name="Google Shape;1777;p75"/>
            <p:cNvSpPr/>
            <p:nvPr/>
          </p:nvSpPr>
          <p:spPr>
            <a:xfrm>
              <a:off x="1936591" y="4854495"/>
              <a:ext cx="416560" cy="41656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778" name="Google Shape;1778;p75"/>
            <p:cNvGrpSpPr/>
            <p:nvPr/>
          </p:nvGrpSpPr>
          <p:grpSpPr>
            <a:xfrm>
              <a:off x="1994217" y="4949317"/>
              <a:ext cx="301308" cy="220726"/>
              <a:chOff x="5754688" y="3178175"/>
              <a:chExt cx="682626" cy="500063"/>
            </a:xfrm>
          </p:grpSpPr>
          <p:sp>
            <p:nvSpPr>
              <p:cNvPr id="1779" name="Google Shape;1779;p75"/>
              <p:cNvSpPr/>
              <p:nvPr/>
            </p:nvSpPr>
            <p:spPr>
              <a:xfrm>
                <a:off x="5754688" y="3178175"/>
                <a:ext cx="315913" cy="500063"/>
              </a:xfrm>
              <a:custGeom>
                <a:avLst/>
                <a:gdLst/>
                <a:ahLst/>
                <a:cxnLst/>
                <a:rect l="l" t="t" r="r" b="b"/>
                <a:pathLst>
                  <a:path w="83" h="130" extrusionOk="0">
                    <a:moveTo>
                      <a:pt x="41" y="0"/>
                    </a:moveTo>
                    <a:cubicBezTo>
                      <a:pt x="52" y="0"/>
                      <a:pt x="62" y="5"/>
                      <a:pt x="70" y="14"/>
                    </a:cubicBezTo>
                    <a:cubicBezTo>
                      <a:pt x="74" y="18"/>
                      <a:pt x="77" y="23"/>
                      <a:pt x="79" y="29"/>
                    </a:cubicBezTo>
                    <a:cubicBezTo>
                      <a:pt x="82" y="35"/>
                      <a:pt x="83" y="41"/>
                      <a:pt x="83" y="47"/>
                    </a:cubicBezTo>
                    <a:cubicBezTo>
                      <a:pt x="83" y="59"/>
                      <a:pt x="79" y="72"/>
                      <a:pt x="70" y="85"/>
                    </a:cubicBezTo>
                    <a:cubicBezTo>
                      <a:pt x="62" y="98"/>
                      <a:pt x="51" y="109"/>
                      <a:pt x="37" y="118"/>
                    </a:cubicBezTo>
                    <a:cubicBezTo>
                      <a:pt x="26" y="126"/>
                      <a:pt x="16" y="130"/>
                      <a:pt x="10" y="130"/>
                    </a:cubicBezTo>
                    <a:cubicBezTo>
                      <a:pt x="7" y="130"/>
                      <a:pt x="5" y="129"/>
                      <a:pt x="3" y="127"/>
                    </a:cubicBezTo>
                    <a:cubicBezTo>
                      <a:pt x="1" y="126"/>
                      <a:pt x="0" y="124"/>
                      <a:pt x="0" y="121"/>
                    </a:cubicBezTo>
                    <a:cubicBezTo>
                      <a:pt x="0" y="117"/>
                      <a:pt x="3" y="114"/>
                      <a:pt x="8" y="111"/>
                    </a:cubicBezTo>
                    <a:cubicBezTo>
                      <a:pt x="20" y="105"/>
                      <a:pt x="29" y="99"/>
                      <a:pt x="35" y="92"/>
                    </a:cubicBezTo>
                    <a:cubicBezTo>
                      <a:pt x="40" y="87"/>
                      <a:pt x="43" y="82"/>
                      <a:pt x="43" y="80"/>
                    </a:cubicBezTo>
                    <a:cubicBezTo>
                      <a:pt x="43" y="77"/>
                      <a:pt x="41" y="76"/>
                      <a:pt x="37" y="75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22" y="73"/>
                      <a:pt x="15" y="69"/>
                      <a:pt x="10" y="63"/>
                    </a:cubicBezTo>
                    <a:cubicBezTo>
                      <a:pt x="5" y="56"/>
                      <a:pt x="2" y="48"/>
                      <a:pt x="2" y="38"/>
                    </a:cubicBezTo>
                    <a:cubicBezTo>
                      <a:pt x="2" y="28"/>
                      <a:pt x="5" y="20"/>
                      <a:pt x="12" y="12"/>
                    </a:cubicBezTo>
                    <a:cubicBezTo>
                      <a:pt x="19" y="4"/>
                      <a:pt x="29" y="0"/>
                      <a:pt x="4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0" name="Google Shape;1780;p75"/>
              <p:cNvSpPr/>
              <p:nvPr/>
            </p:nvSpPr>
            <p:spPr>
              <a:xfrm>
                <a:off x="6121401" y="3178175"/>
                <a:ext cx="315913" cy="500063"/>
              </a:xfrm>
              <a:custGeom>
                <a:avLst/>
                <a:gdLst/>
                <a:ahLst/>
                <a:cxnLst/>
                <a:rect l="l" t="t" r="r" b="b"/>
                <a:pathLst>
                  <a:path w="83" h="130" extrusionOk="0">
                    <a:moveTo>
                      <a:pt x="41" y="0"/>
                    </a:moveTo>
                    <a:cubicBezTo>
                      <a:pt x="52" y="0"/>
                      <a:pt x="62" y="5"/>
                      <a:pt x="70" y="14"/>
                    </a:cubicBezTo>
                    <a:cubicBezTo>
                      <a:pt x="74" y="18"/>
                      <a:pt x="77" y="23"/>
                      <a:pt x="79" y="29"/>
                    </a:cubicBezTo>
                    <a:cubicBezTo>
                      <a:pt x="82" y="35"/>
                      <a:pt x="83" y="41"/>
                      <a:pt x="83" y="47"/>
                    </a:cubicBezTo>
                    <a:cubicBezTo>
                      <a:pt x="83" y="59"/>
                      <a:pt x="79" y="72"/>
                      <a:pt x="70" y="85"/>
                    </a:cubicBezTo>
                    <a:cubicBezTo>
                      <a:pt x="62" y="98"/>
                      <a:pt x="51" y="109"/>
                      <a:pt x="37" y="118"/>
                    </a:cubicBezTo>
                    <a:cubicBezTo>
                      <a:pt x="25" y="126"/>
                      <a:pt x="16" y="130"/>
                      <a:pt x="9" y="130"/>
                    </a:cubicBezTo>
                    <a:cubicBezTo>
                      <a:pt x="7" y="130"/>
                      <a:pt x="5" y="129"/>
                      <a:pt x="3" y="127"/>
                    </a:cubicBezTo>
                    <a:cubicBezTo>
                      <a:pt x="1" y="126"/>
                      <a:pt x="0" y="124"/>
                      <a:pt x="0" y="121"/>
                    </a:cubicBezTo>
                    <a:cubicBezTo>
                      <a:pt x="0" y="117"/>
                      <a:pt x="3" y="114"/>
                      <a:pt x="8" y="111"/>
                    </a:cubicBezTo>
                    <a:cubicBezTo>
                      <a:pt x="20" y="105"/>
                      <a:pt x="29" y="99"/>
                      <a:pt x="35" y="92"/>
                    </a:cubicBezTo>
                    <a:cubicBezTo>
                      <a:pt x="40" y="87"/>
                      <a:pt x="43" y="82"/>
                      <a:pt x="43" y="80"/>
                    </a:cubicBezTo>
                    <a:cubicBezTo>
                      <a:pt x="43" y="77"/>
                      <a:pt x="41" y="76"/>
                      <a:pt x="37" y="75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22" y="73"/>
                      <a:pt x="15" y="69"/>
                      <a:pt x="10" y="63"/>
                    </a:cubicBezTo>
                    <a:cubicBezTo>
                      <a:pt x="4" y="56"/>
                      <a:pt x="2" y="48"/>
                      <a:pt x="2" y="38"/>
                    </a:cubicBezTo>
                    <a:cubicBezTo>
                      <a:pt x="2" y="28"/>
                      <a:pt x="5" y="20"/>
                      <a:pt x="12" y="12"/>
                    </a:cubicBezTo>
                    <a:cubicBezTo>
                      <a:pt x="19" y="4"/>
                      <a:pt x="29" y="0"/>
                      <a:pt x="4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28" name="Picture 4" descr="The importance of the Data Quality - Captain Verify">
            <a:extLst>
              <a:ext uri="{FF2B5EF4-FFF2-40B4-BE49-F238E27FC236}">
                <a16:creationId xmlns:a16="http://schemas.microsoft.com/office/drawing/2014/main" id="{1F291728-E6CD-505F-29D2-32C25CE0BE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2659" y="2461759"/>
            <a:ext cx="587845" cy="75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Report Icons Added to Dashboard Suggestions - 4me">
            <a:extLst>
              <a:ext uri="{FF2B5EF4-FFF2-40B4-BE49-F238E27FC236}">
                <a16:creationId xmlns:a16="http://schemas.microsoft.com/office/drawing/2014/main" id="{F2F727ED-925A-2624-351C-363EC41A1B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1888" y="3811009"/>
            <a:ext cx="693792" cy="693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Google Shape;1643;p75">
            <a:extLst>
              <a:ext uri="{FF2B5EF4-FFF2-40B4-BE49-F238E27FC236}">
                <a16:creationId xmlns:a16="http://schemas.microsoft.com/office/drawing/2014/main" id="{5505DB6E-4411-614A-C0C3-3FFB33DD3EA8}"/>
              </a:ext>
            </a:extLst>
          </p:cNvPr>
          <p:cNvSpPr txBox="1"/>
          <p:nvPr/>
        </p:nvSpPr>
        <p:spPr>
          <a:xfrm>
            <a:off x="9174577" y="2598378"/>
            <a:ext cx="2456492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uring the project, Data were corrected in the ERPs 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anual files 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where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not used anymo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ts val="13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Quality improved by 55% </a:t>
            </a:r>
            <a:r>
              <a:rPr kumimoji="0" lang="en-US" sz="1300" b="0" i="1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for critical data elements </a:t>
            </a:r>
          </a:p>
        </p:txBody>
      </p:sp>
    </p:spTree>
    <p:extLst>
      <p:ext uri="{BB962C8B-B14F-4D97-AF65-F5344CB8AC3E}">
        <p14:creationId xmlns:p14="http://schemas.microsoft.com/office/powerpoint/2010/main" val="21392018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7" name="Google Shape;1847;p1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" y="0"/>
            <a:ext cx="344925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48" name="Google Shape;1848;p13"/>
          <p:cNvSpPr/>
          <p:nvPr/>
        </p:nvSpPr>
        <p:spPr>
          <a:xfrm>
            <a:off x="0" y="-1"/>
            <a:ext cx="3460830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0F47F2">
                  <a:alpha val="67843"/>
                </a:srgbClr>
              </a:gs>
              <a:gs pos="76000">
                <a:srgbClr val="0F47F2">
                  <a:alpha val="6784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849" name="Google Shape;1849;p13"/>
          <p:cNvGrpSpPr/>
          <p:nvPr/>
        </p:nvGrpSpPr>
        <p:grpSpPr>
          <a:xfrm>
            <a:off x="10997729" y="2032647"/>
            <a:ext cx="644875" cy="638649"/>
            <a:chOff x="373784" y="6837540"/>
            <a:chExt cx="578798" cy="581782"/>
          </a:xfrm>
        </p:grpSpPr>
        <p:sp>
          <p:nvSpPr>
            <p:cNvPr id="1850" name="Google Shape;1850;p13"/>
            <p:cNvSpPr/>
            <p:nvPr/>
          </p:nvSpPr>
          <p:spPr>
            <a:xfrm>
              <a:off x="378969" y="6843587"/>
              <a:ext cx="571141" cy="572050"/>
            </a:xfrm>
            <a:custGeom>
              <a:avLst/>
              <a:gdLst/>
              <a:ahLst/>
              <a:cxnLst/>
              <a:rect l="l" t="t" r="r" b="b"/>
              <a:pathLst>
                <a:path w="571141" h="572050" extrusionOk="0">
                  <a:moveTo>
                    <a:pt x="946" y="262566"/>
                  </a:moveTo>
                  <a:lnTo>
                    <a:pt x="3737" y="239629"/>
                  </a:lnTo>
                  <a:lnTo>
                    <a:pt x="8299" y="217289"/>
                  </a:lnTo>
                  <a:lnTo>
                    <a:pt x="14558" y="195618"/>
                  </a:lnTo>
                  <a:lnTo>
                    <a:pt x="22441" y="174690"/>
                  </a:lnTo>
                  <a:lnTo>
                    <a:pt x="31874" y="154579"/>
                  </a:lnTo>
                  <a:lnTo>
                    <a:pt x="42785" y="135359"/>
                  </a:lnTo>
                  <a:lnTo>
                    <a:pt x="55098" y="117102"/>
                  </a:lnTo>
                  <a:lnTo>
                    <a:pt x="68742" y="99882"/>
                  </a:lnTo>
                  <a:lnTo>
                    <a:pt x="83641" y="83774"/>
                  </a:lnTo>
                  <a:lnTo>
                    <a:pt x="99724" y="68851"/>
                  </a:lnTo>
                  <a:lnTo>
                    <a:pt x="116916" y="55186"/>
                  </a:lnTo>
                  <a:lnTo>
                    <a:pt x="135144" y="42852"/>
                  </a:lnTo>
                  <a:lnTo>
                    <a:pt x="154334" y="31925"/>
                  </a:lnTo>
                  <a:lnTo>
                    <a:pt x="174413" y="22477"/>
                  </a:lnTo>
                  <a:lnTo>
                    <a:pt x="195308" y="14581"/>
                  </a:lnTo>
                  <a:lnTo>
                    <a:pt x="216945" y="8312"/>
                  </a:lnTo>
                  <a:lnTo>
                    <a:pt x="239249" y="3743"/>
                  </a:lnTo>
                  <a:lnTo>
                    <a:pt x="262149" y="948"/>
                  </a:lnTo>
                  <a:lnTo>
                    <a:pt x="285570" y="0"/>
                  </a:lnTo>
                  <a:lnTo>
                    <a:pt x="308992" y="948"/>
                  </a:lnTo>
                  <a:lnTo>
                    <a:pt x="331892" y="3743"/>
                  </a:lnTo>
                  <a:lnTo>
                    <a:pt x="354197" y="8312"/>
                  </a:lnTo>
                  <a:lnTo>
                    <a:pt x="375833" y="14581"/>
                  </a:lnTo>
                  <a:lnTo>
                    <a:pt x="396728" y="22477"/>
                  </a:lnTo>
                  <a:lnTo>
                    <a:pt x="416807" y="31925"/>
                  </a:lnTo>
                  <a:lnTo>
                    <a:pt x="435997" y="42853"/>
                  </a:lnTo>
                  <a:lnTo>
                    <a:pt x="454225" y="55186"/>
                  </a:lnTo>
                  <a:lnTo>
                    <a:pt x="471417" y="68851"/>
                  </a:lnTo>
                  <a:lnTo>
                    <a:pt x="487500" y="83774"/>
                  </a:lnTo>
                  <a:lnTo>
                    <a:pt x="502400" y="99882"/>
                  </a:lnTo>
                  <a:lnTo>
                    <a:pt x="516043" y="117102"/>
                  </a:lnTo>
                  <a:lnTo>
                    <a:pt x="528356" y="135359"/>
                  </a:lnTo>
                  <a:lnTo>
                    <a:pt x="539267" y="154579"/>
                  </a:lnTo>
                  <a:lnTo>
                    <a:pt x="548700" y="174691"/>
                  </a:lnTo>
                  <a:lnTo>
                    <a:pt x="556583" y="195618"/>
                  </a:lnTo>
                  <a:lnTo>
                    <a:pt x="562842" y="217289"/>
                  </a:lnTo>
                  <a:lnTo>
                    <a:pt x="567404" y="239630"/>
                  </a:lnTo>
                  <a:lnTo>
                    <a:pt x="570195" y="262566"/>
                  </a:lnTo>
                  <a:lnTo>
                    <a:pt x="571141" y="286024"/>
                  </a:lnTo>
                  <a:lnTo>
                    <a:pt x="570195" y="309483"/>
                  </a:lnTo>
                  <a:lnTo>
                    <a:pt x="567404" y="332420"/>
                  </a:lnTo>
                  <a:lnTo>
                    <a:pt x="562842" y="354760"/>
                  </a:lnTo>
                  <a:lnTo>
                    <a:pt x="556583" y="376431"/>
                  </a:lnTo>
                  <a:lnTo>
                    <a:pt x="548700" y="397359"/>
                  </a:lnTo>
                  <a:lnTo>
                    <a:pt x="539267" y="417470"/>
                  </a:lnTo>
                  <a:lnTo>
                    <a:pt x="528356" y="436690"/>
                  </a:lnTo>
                  <a:lnTo>
                    <a:pt x="516043" y="454947"/>
                  </a:lnTo>
                  <a:lnTo>
                    <a:pt x="502399" y="472167"/>
                  </a:lnTo>
                  <a:lnTo>
                    <a:pt x="487500" y="488275"/>
                  </a:lnTo>
                  <a:lnTo>
                    <a:pt x="471417" y="503198"/>
                  </a:lnTo>
                  <a:lnTo>
                    <a:pt x="454225" y="516863"/>
                  </a:lnTo>
                  <a:lnTo>
                    <a:pt x="435997" y="529197"/>
                  </a:lnTo>
                  <a:lnTo>
                    <a:pt x="416807" y="540124"/>
                  </a:lnTo>
                  <a:lnTo>
                    <a:pt x="396728" y="549572"/>
                  </a:lnTo>
                  <a:lnTo>
                    <a:pt x="375833" y="557468"/>
                  </a:lnTo>
                  <a:lnTo>
                    <a:pt x="354197" y="563737"/>
                  </a:lnTo>
                  <a:lnTo>
                    <a:pt x="331892" y="568306"/>
                  </a:lnTo>
                  <a:lnTo>
                    <a:pt x="308992" y="571101"/>
                  </a:lnTo>
                  <a:lnTo>
                    <a:pt x="285571" y="572050"/>
                  </a:lnTo>
                  <a:lnTo>
                    <a:pt x="262149" y="571101"/>
                  </a:lnTo>
                  <a:lnTo>
                    <a:pt x="239249" y="568306"/>
                  </a:lnTo>
                  <a:lnTo>
                    <a:pt x="216945" y="563737"/>
                  </a:lnTo>
                  <a:lnTo>
                    <a:pt x="195308" y="557468"/>
                  </a:lnTo>
                  <a:lnTo>
                    <a:pt x="174413" y="549572"/>
                  </a:lnTo>
                  <a:lnTo>
                    <a:pt x="154334" y="540124"/>
                  </a:lnTo>
                  <a:lnTo>
                    <a:pt x="135144" y="529197"/>
                  </a:lnTo>
                  <a:lnTo>
                    <a:pt x="116916" y="516863"/>
                  </a:lnTo>
                  <a:lnTo>
                    <a:pt x="99724" y="503198"/>
                  </a:lnTo>
                  <a:lnTo>
                    <a:pt x="83641" y="488275"/>
                  </a:lnTo>
                  <a:lnTo>
                    <a:pt x="68742" y="472167"/>
                  </a:lnTo>
                  <a:lnTo>
                    <a:pt x="55098" y="454947"/>
                  </a:lnTo>
                  <a:lnTo>
                    <a:pt x="42785" y="436690"/>
                  </a:lnTo>
                  <a:lnTo>
                    <a:pt x="31875" y="417470"/>
                  </a:lnTo>
                  <a:lnTo>
                    <a:pt x="22441" y="397359"/>
                  </a:lnTo>
                  <a:lnTo>
                    <a:pt x="14558" y="376431"/>
                  </a:lnTo>
                  <a:lnTo>
                    <a:pt x="8299" y="354760"/>
                  </a:lnTo>
                  <a:lnTo>
                    <a:pt x="3737" y="332420"/>
                  </a:lnTo>
                  <a:lnTo>
                    <a:pt x="946" y="309483"/>
                  </a:lnTo>
                  <a:lnTo>
                    <a:pt x="0" y="286025"/>
                  </a:lnTo>
                  <a:lnTo>
                    <a:pt x="946" y="2625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1" name="Google Shape;1851;p13"/>
            <p:cNvSpPr/>
            <p:nvPr/>
          </p:nvSpPr>
          <p:spPr>
            <a:xfrm>
              <a:off x="458665" y="6923414"/>
              <a:ext cx="409337" cy="409995"/>
            </a:xfrm>
            <a:custGeom>
              <a:avLst/>
              <a:gdLst/>
              <a:ahLst/>
              <a:cxnLst/>
              <a:rect l="l" t="t" r="r" b="b"/>
              <a:pathLst>
                <a:path w="409337" h="409995" extrusionOk="0">
                  <a:moveTo>
                    <a:pt x="5955" y="155688"/>
                  </a:moveTo>
                  <a:lnTo>
                    <a:pt x="10445" y="140178"/>
                  </a:lnTo>
                  <a:lnTo>
                    <a:pt x="16099" y="125197"/>
                  </a:lnTo>
                  <a:lnTo>
                    <a:pt x="14958" y="204853"/>
                  </a:lnTo>
                  <a:lnTo>
                    <a:pt x="15588" y="220429"/>
                  </a:lnTo>
                  <a:lnTo>
                    <a:pt x="17446" y="235662"/>
                  </a:lnTo>
                  <a:lnTo>
                    <a:pt x="20483" y="250503"/>
                  </a:lnTo>
                  <a:lnTo>
                    <a:pt x="24648" y="264902"/>
                  </a:lnTo>
                  <a:lnTo>
                    <a:pt x="29893" y="278810"/>
                  </a:lnTo>
                  <a:lnTo>
                    <a:pt x="36169" y="292178"/>
                  </a:lnTo>
                  <a:lnTo>
                    <a:pt x="43425" y="304956"/>
                  </a:lnTo>
                  <a:lnTo>
                    <a:pt x="51612" y="317096"/>
                  </a:lnTo>
                  <a:lnTo>
                    <a:pt x="60682" y="328547"/>
                  </a:lnTo>
                  <a:lnTo>
                    <a:pt x="70584" y="339261"/>
                  </a:lnTo>
                  <a:lnTo>
                    <a:pt x="81269" y="349189"/>
                  </a:lnTo>
                  <a:lnTo>
                    <a:pt x="92688" y="358281"/>
                  </a:lnTo>
                  <a:lnTo>
                    <a:pt x="104791" y="366487"/>
                  </a:lnTo>
                  <a:lnTo>
                    <a:pt x="117529" y="373760"/>
                  </a:lnTo>
                  <a:lnTo>
                    <a:pt x="130852" y="380048"/>
                  </a:lnTo>
                  <a:lnTo>
                    <a:pt x="144712" y="385304"/>
                  </a:lnTo>
                  <a:lnTo>
                    <a:pt x="159059" y="389478"/>
                  </a:lnTo>
                  <a:lnTo>
                    <a:pt x="173842" y="392520"/>
                  </a:lnTo>
                  <a:lnTo>
                    <a:pt x="189014" y="394381"/>
                  </a:lnTo>
                  <a:lnTo>
                    <a:pt x="204524" y="395013"/>
                  </a:lnTo>
                  <a:lnTo>
                    <a:pt x="220076" y="394381"/>
                  </a:lnTo>
                  <a:lnTo>
                    <a:pt x="235284" y="392520"/>
                  </a:lnTo>
                  <a:lnTo>
                    <a:pt x="250101" y="389478"/>
                  </a:lnTo>
                  <a:lnTo>
                    <a:pt x="264477" y="385304"/>
                  </a:lnTo>
                  <a:lnTo>
                    <a:pt x="278363" y="380048"/>
                  </a:lnTo>
                  <a:lnTo>
                    <a:pt x="291709" y="373760"/>
                  </a:lnTo>
                  <a:lnTo>
                    <a:pt x="304467" y="366487"/>
                  </a:lnTo>
                  <a:lnTo>
                    <a:pt x="316587" y="358281"/>
                  </a:lnTo>
                  <a:lnTo>
                    <a:pt x="328020" y="349189"/>
                  </a:lnTo>
                  <a:lnTo>
                    <a:pt x="338717" y="339261"/>
                  </a:lnTo>
                  <a:lnTo>
                    <a:pt x="348628" y="328547"/>
                  </a:lnTo>
                  <a:lnTo>
                    <a:pt x="357706" y="317096"/>
                  </a:lnTo>
                  <a:lnTo>
                    <a:pt x="365899" y="304956"/>
                  </a:lnTo>
                  <a:lnTo>
                    <a:pt x="373160" y="292178"/>
                  </a:lnTo>
                  <a:lnTo>
                    <a:pt x="379438" y="278810"/>
                  </a:lnTo>
                  <a:lnTo>
                    <a:pt x="384686" y="264902"/>
                  </a:lnTo>
                  <a:lnTo>
                    <a:pt x="388853" y="250503"/>
                  </a:lnTo>
                  <a:lnTo>
                    <a:pt x="391890" y="235662"/>
                  </a:lnTo>
                  <a:lnTo>
                    <a:pt x="393748" y="220429"/>
                  </a:lnTo>
                  <a:lnTo>
                    <a:pt x="394379" y="204853"/>
                  </a:lnTo>
                  <a:lnTo>
                    <a:pt x="393748" y="189318"/>
                  </a:lnTo>
                  <a:lnTo>
                    <a:pt x="391890" y="174122"/>
                  </a:lnTo>
                  <a:lnTo>
                    <a:pt x="388853" y="159314"/>
                  </a:lnTo>
                  <a:lnTo>
                    <a:pt x="384686" y="144945"/>
                  </a:lnTo>
                  <a:lnTo>
                    <a:pt x="379438" y="131063"/>
                  </a:lnTo>
                  <a:lnTo>
                    <a:pt x="373160" y="117718"/>
                  </a:lnTo>
                  <a:lnTo>
                    <a:pt x="365899" y="104959"/>
                  </a:lnTo>
                  <a:lnTo>
                    <a:pt x="357706" y="92837"/>
                  </a:lnTo>
                  <a:lnTo>
                    <a:pt x="348628" y="81399"/>
                  </a:lnTo>
                  <a:lnTo>
                    <a:pt x="338717" y="70697"/>
                  </a:lnTo>
                  <a:lnTo>
                    <a:pt x="328020" y="60779"/>
                  </a:lnTo>
                  <a:lnTo>
                    <a:pt x="316587" y="51695"/>
                  </a:lnTo>
                  <a:lnTo>
                    <a:pt x="304467" y="43495"/>
                  </a:lnTo>
                  <a:lnTo>
                    <a:pt x="291709" y="36227"/>
                  </a:lnTo>
                  <a:lnTo>
                    <a:pt x="278363" y="29942"/>
                  </a:lnTo>
                  <a:lnTo>
                    <a:pt x="264477" y="24688"/>
                  </a:lnTo>
                  <a:lnTo>
                    <a:pt x="250101" y="20516"/>
                  </a:lnTo>
                  <a:lnTo>
                    <a:pt x="235284" y="17474"/>
                  </a:lnTo>
                  <a:lnTo>
                    <a:pt x="220076" y="15613"/>
                  </a:lnTo>
                  <a:lnTo>
                    <a:pt x="204524" y="14982"/>
                  </a:lnTo>
                  <a:lnTo>
                    <a:pt x="189014" y="15613"/>
                  </a:lnTo>
                  <a:lnTo>
                    <a:pt x="173842" y="17474"/>
                  </a:lnTo>
                  <a:lnTo>
                    <a:pt x="159059" y="20516"/>
                  </a:lnTo>
                  <a:lnTo>
                    <a:pt x="144712" y="24688"/>
                  </a:lnTo>
                  <a:lnTo>
                    <a:pt x="130852" y="29942"/>
                  </a:lnTo>
                  <a:lnTo>
                    <a:pt x="117529" y="36227"/>
                  </a:lnTo>
                  <a:lnTo>
                    <a:pt x="104791" y="43495"/>
                  </a:lnTo>
                  <a:lnTo>
                    <a:pt x="92688" y="51695"/>
                  </a:lnTo>
                  <a:lnTo>
                    <a:pt x="81269" y="60779"/>
                  </a:lnTo>
                  <a:lnTo>
                    <a:pt x="70584" y="70697"/>
                  </a:lnTo>
                  <a:lnTo>
                    <a:pt x="60682" y="81399"/>
                  </a:lnTo>
                  <a:lnTo>
                    <a:pt x="51612" y="92837"/>
                  </a:lnTo>
                  <a:lnTo>
                    <a:pt x="43425" y="104959"/>
                  </a:lnTo>
                  <a:lnTo>
                    <a:pt x="36169" y="117718"/>
                  </a:lnTo>
                  <a:lnTo>
                    <a:pt x="29893" y="131063"/>
                  </a:lnTo>
                  <a:lnTo>
                    <a:pt x="24648" y="144945"/>
                  </a:lnTo>
                  <a:lnTo>
                    <a:pt x="30688" y="97031"/>
                  </a:lnTo>
                  <a:lnTo>
                    <a:pt x="39517" y="83953"/>
                  </a:lnTo>
                  <a:lnTo>
                    <a:pt x="49297" y="71616"/>
                  </a:lnTo>
                  <a:lnTo>
                    <a:pt x="59976" y="60073"/>
                  </a:lnTo>
                  <a:lnTo>
                    <a:pt x="71501" y="49376"/>
                  </a:lnTo>
                  <a:lnTo>
                    <a:pt x="83818" y="39580"/>
                  </a:lnTo>
                  <a:lnTo>
                    <a:pt x="96875" y="30738"/>
                  </a:lnTo>
                  <a:lnTo>
                    <a:pt x="110619" y="22902"/>
                  </a:lnTo>
                  <a:lnTo>
                    <a:pt x="124996" y="16125"/>
                  </a:lnTo>
                  <a:lnTo>
                    <a:pt x="139953" y="10462"/>
                  </a:lnTo>
                  <a:lnTo>
                    <a:pt x="155438" y="5964"/>
                  </a:lnTo>
                  <a:lnTo>
                    <a:pt x="171396" y="2686"/>
                  </a:lnTo>
                  <a:lnTo>
                    <a:pt x="187776" y="680"/>
                  </a:lnTo>
                  <a:lnTo>
                    <a:pt x="204524" y="0"/>
                  </a:lnTo>
                  <a:lnTo>
                    <a:pt x="221313" y="680"/>
                  </a:lnTo>
                  <a:lnTo>
                    <a:pt x="237730" y="2686"/>
                  </a:lnTo>
                  <a:lnTo>
                    <a:pt x="253722" y="5964"/>
                  </a:lnTo>
                  <a:lnTo>
                    <a:pt x="269236" y="10462"/>
                  </a:lnTo>
                  <a:lnTo>
                    <a:pt x="284219" y="16125"/>
                  </a:lnTo>
                  <a:lnTo>
                    <a:pt x="298619" y="22902"/>
                  </a:lnTo>
                  <a:lnTo>
                    <a:pt x="312382" y="30738"/>
                  </a:lnTo>
                  <a:lnTo>
                    <a:pt x="325456" y="39580"/>
                  </a:lnTo>
                  <a:lnTo>
                    <a:pt x="337787" y="49376"/>
                  </a:lnTo>
                  <a:lnTo>
                    <a:pt x="349324" y="60073"/>
                  </a:lnTo>
                  <a:lnTo>
                    <a:pt x="360013" y="71616"/>
                  </a:lnTo>
                  <a:lnTo>
                    <a:pt x="369801" y="83953"/>
                  </a:lnTo>
                  <a:lnTo>
                    <a:pt x="378636" y="97031"/>
                  </a:lnTo>
                  <a:lnTo>
                    <a:pt x="386464" y="110797"/>
                  </a:lnTo>
                  <a:lnTo>
                    <a:pt x="393232" y="125197"/>
                  </a:lnTo>
                  <a:lnTo>
                    <a:pt x="398889" y="140178"/>
                  </a:lnTo>
                  <a:lnTo>
                    <a:pt x="403381" y="155688"/>
                  </a:lnTo>
                  <a:lnTo>
                    <a:pt x="406654" y="171672"/>
                  </a:lnTo>
                  <a:lnTo>
                    <a:pt x="408657" y="188078"/>
                  </a:lnTo>
                  <a:lnTo>
                    <a:pt x="409337" y="204853"/>
                  </a:lnTo>
                  <a:lnTo>
                    <a:pt x="408657" y="221669"/>
                  </a:lnTo>
                  <a:lnTo>
                    <a:pt x="406654" y="238112"/>
                  </a:lnTo>
                  <a:lnTo>
                    <a:pt x="403381" y="254130"/>
                  </a:lnTo>
                  <a:lnTo>
                    <a:pt x="398889" y="269669"/>
                  </a:lnTo>
                  <a:lnTo>
                    <a:pt x="393232" y="284676"/>
                  </a:lnTo>
                  <a:lnTo>
                    <a:pt x="386464" y="299099"/>
                  </a:lnTo>
                  <a:lnTo>
                    <a:pt x="378636" y="312884"/>
                  </a:lnTo>
                  <a:lnTo>
                    <a:pt x="369801" y="325979"/>
                  </a:lnTo>
                  <a:lnTo>
                    <a:pt x="360013" y="338331"/>
                  </a:lnTo>
                  <a:lnTo>
                    <a:pt x="349324" y="349886"/>
                  </a:lnTo>
                  <a:lnTo>
                    <a:pt x="337787" y="360592"/>
                  </a:lnTo>
                  <a:lnTo>
                    <a:pt x="325456" y="370396"/>
                  </a:lnTo>
                  <a:lnTo>
                    <a:pt x="312382" y="379244"/>
                  </a:lnTo>
                  <a:lnTo>
                    <a:pt x="298619" y="387085"/>
                  </a:lnTo>
                  <a:lnTo>
                    <a:pt x="284219" y="393865"/>
                  </a:lnTo>
                  <a:lnTo>
                    <a:pt x="269236" y="399530"/>
                  </a:lnTo>
                  <a:lnTo>
                    <a:pt x="253722" y="404029"/>
                  </a:lnTo>
                  <a:lnTo>
                    <a:pt x="237730" y="407308"/>
                  </a:lnTo>
                  <a:lnTo>
                    <a:pt x="221313" y="409314"/>
                  </a:lnTo>
                  <a:lnTo>
                    <a:pt x="204524" y="409995"/>
                  </a:lnTo>
                  <a:lnTo>
                    <a:pt x="187776" y="409314"/>
                  </a:lnTo>
                  <a:lnTo>
                    <a:pt x="171396" y="407308"/>
                  </a:lnTo>
                  <a:lnTo>
                    <a:pt x="155438" y="404029"/>
                  </a:lnTo>
                  <a:lnTo>
                    <a:pt x="139953" y="399530"/>
                  </a:lnTo>
                  <a:lnTo>
                    <a:pt x="124996" y="393865"/>
                  </a:lnTo>
                  <a:lnTo>
                    <a:pt x="110619" y="387085"/>
                  </a:lnTo>
                  <a:lnTo>
                    <a:pt x="96875" y="379244"/>
                  </a:lnTo>
                  <a:lnTo>
                    <a:pt x="83818" y="370396"/>
                  </a:lnTo>
                  <a:lnTo>
                    <a:pt x="71501" y="360592"/>
                  </a:lnTo>
                  <a:lnTo>
                    <a:pt x="59976" y="349886"/>
                  </a:lnTo>
                  <a:lnTo>
                    <a:pt x="49297" y="338331"/>
                  </a:lnTo>
                  <a:lnTo>
                    <a:pt x="39517" y="325979"/>
                  </a:lnTo>
                  <a:lnTo>
                    <a:pt x="30688" y="312884"/>
                  </a:lnTo>
                  <a:lnTo>
                    <a:pt x="22865" y="299099"/>
                  </a:lnTo>
                  <a:lnTo>
                    <a:pt x="16099" y="284676"/>
                  </a:lnTo>
                  <a:lnTo>
                    <a:pt x="10445" y="269669"/>
                  </a:lnTo>
                  <a:lnTo>
                    <a:pt x="5955" y="254130"/>
                  </a:lnTo>
                  <a:lnTo>
                    <a:pt x="2682" y="238112"/>
                  </a:lnTo>
                  <a:lnTo>
                    <a:pt x="679" y="221669"/>
                  </a:lnTo>
                  <a:lnTo>
                    <a:pt x="0" y="204853"/>
                  </a:lnTo>
                  <a:lnTo>
                    <a:pt x="679" y="188078"/>
                  </a:lnTo>
                  <a:lnTo>
                    <a:pt x="2682" y="171672"/>
                  </a:lnTo>
                  <a:lnTo>
                    <a:pt x="5955" y="155688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2" name="Google Shape;1852;p13"/>
            <p:cNvSpPr/>
            <p:nvPr/>
          </p:nvSpPr>
          <p:spPr>
            <a:xfrm>
              <a:off x="473623" y="7020446"/>
              <a:ext cx="15730" cy="107822"/>
            </a:xfrm>
            <a:custGeom>
              <a:avLst/>
              <a:gdLst/>
              <a:ahLst/>
              <a:cxnLst/>
              <a:rect l="l" t="t" r="r" b="b"/>
              <a:pathLst>
                <a:path w="15730" h="107822" extrusionOk="0">
                  <a:moveTo>
                    <a:pt x="7907" y="13765"/>
                  </a:moveTo>
                  <a:lnTo>
                    <a:pt x="15730" y="0"/>
                  </a:lnTo>
                  <a:lnTo>
                    <a:pt x="9690" y="47913"/>
                  </a:lnTo>
                  <a:lnTo>
                    <a:pt x="5525" y="62283"/>
                  </a:lnTo>
                  <a:lnTo>
                    <a:pt x="2488" y="77090"/>
                  </a:lnTo>
                  <a:lnTo>
                    <a:pt x="630" y="92286"/>
                  </a:lnTo>
                  <a:lnTo>
                    <a:pt x="0" y="107822"/>
                  </a:lnTo>
                  <a:lnTo>
                    <a:pt x="1141" y="28165"/>
                  </a:lnTo>
                  <a:lnTo>
                    <a:pt x="7907" y="1376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3" name="Google Shape;1853;p13"/>
            <p:cNvSpPr/>
            <p:nvPr/>
          </p:nvSpPr>
          <p:spPr>
            <a:xfrm>
              <a:off x="465894" y="6930670"/>
              <a:ext cx="394858" cy="394272"/>
            </a:xfrm>
            <a:custGeom>
              <a:avLst/>
              <a:gdLst/>
              <a:ahLst/>
              <a:cxnLst/>
              <a:rect l="l" t="t" r="r" b="b"/>
              <a:pathLst>
                <a:path w="394858" h="394272" extrusionOk="0">
                  <a:moveTo>
                    <a:pt x="654" y="180967"/>
                  </a:moveTo>
                  <a:lnTo>
                    <a:pt x="2584" y="165159"/>
                  </a:lnTo>
                  <a:lnTo>
                    <a:pt x="5737" y="149761"/>
                  </a:lnTo>
                  <a:lnTo>
                    <a:pt x="10065" y="134825"/>
                  </a:lnTo>
                  <a:lnTo>
                    <a:pt x="15514" y="120401"/>
                  </a:lnTo>
                  <a:lnTo>
                    <a:pt x="22036" y="106540"/>
                  </a:lnTo>
                  <a:lnTo>
                    <a:pt x="29579" y="93293"/>
                  </a:lnTo>
                  <a:lnTo>
                    <a:pt x="38092" y="80709"/>
                  </a:lnTo>
                  <a:lnTo>
                    <a:pt x="47524" y="68841"/>
                  </a:lnTo>
                  <a:lnTo>
                    <a:pt x="57825" y="57739"/>
                  </a:lnTo>
                  <a:lnTo>
                    <a:pt x="68944" y="47454"/>
                  </a:lnTo>
                  <a:lnTo>
                    <a:pt x="80830" y="38035"/>
                  </a:lnTo>
                  <a:lnTo>
                    <a:pt x="93431" y="29535"/>
                  </a:lnTo>
                  <a:lnTo>
                    <a:pt x="106699" y="22003"/>
                  </a:lnTo>
                  <a:lnTo>
                    <a:pt x="120580" y="15491"/>
                  </a:lnTo>
                  <a:lnTo>
                    <a:pt x="135026" y="10050"/>
                  </a:lnTo>
                  <a:lnTo>
                    <a:pt x="149984" y="5729"/>
                  </a:lnTo>
                  <a:lnTo>
                    <a:pt x="165405" y="2580"/>
                  </a:lnTo>
                  <a:lnTo>
                    <a:pt x="181236" y="653"/>
                  </a:lnTo>
                  <a:lnTo>
                    <a:pt x="197429" y="0"/>
                  </a:lnTo>
                  <a:lnTo>
                    <a:pt x="213621" y="653"/>
                  </a:lnTo>
                  <a:lnTo>
                    <a:pt x="229453" y="2580"/>
                  </a:lnTo>
                  <a:lnTo>
                    <a:pt x="244873" y="5729"/>
                  </a:lnTo>
                  <a:lnTo>
                    <a:pt x="259832" y="10050"/>
                  </a:lnTo>
                  <a:lnTo>
                    <a:pt x="274277" y="15491"/>
                  </a:lnTo>
                  <a:lnTo>
                    <a:pt x="288159" y="22003"/>
                  </a:lnTo>
                  <a:lnTo>
                    <a:pt x="301426" y="29535"/>
                  </a:lnTo>
                  <a:lnTo>
                    <a:pt x="314028" y="38035"/>
                  </a:lnTo>
                  <a:lnTo>
                    <a:pt x="325913" y="47454"/>
                  </a:lnTo>
                  <a:lnTo>
                    <a:pt x="337032" y="57739"/>
                  </a:lnTo>
                  <a:lnTo>
                    <a:pt x="347333" y="68842"/>
                  </a:lnTo>
                  <a:lnTo>
                    <a:pt x="356765" y="80710"/>
                  </a:lnTo>
                  <a:lnTo>
                    <a:pt x="365278" y="93293"/>
                  </a:lnTo>
                  <a:lnTo>
                    <a:pt x="372821" y="106540"/>
                  </a:lnTo>
                  <a:lnTo>
                    <a:pt x="379343" y="120401"/>
                  </a:lnTo>
                  <a:lnTo>
                    <a:pt x="384793" y="134825"/>
                  </a:lnTo>
                  <a:lnTo>
                    <a:pt x="389120" y="149761"/>
                  </a:lnTo>
                  <a:lnTo>
                    <a:pt x="392274" y="165159"/>
                  </a:lnTo>
                  <a:lnTo>
                    <a:pt x="394203" y="180967"/>
                  </a:lnTo>
                  <a:lnTo>
                    <a:pt x="394858" y="197136"/>
                  </a:lnTo>
                  <a:lnTo>
                    <a:pt x="394203" y="213304"/>
                  </a:lnTo>
                  <a:lnTo>
                    <a:pt x="392274" y="229112"/>
                  </a:lnTo>
                  <a:lnTo>
                    <a:pt x="389120" y="244510"/>
                  </a:lnTo>
                  <a:lnTo>
                    <a:pt x="384793" y="259446"/>
                  </a:lnTo>
                  <a:lnTo>
                    <a:pt x="379343" y="273870"/>
                  </a:lnTo>
                  <a:lnTo>
                    <a:pt x="372821" y="287731"/>
                  </a:lnTo>
                  <a:lnTo>
                    <a:pt x="365278" y="300979"/>
                  </a:lnTo>
                  <a:lnTo>
                    <a:pt x="356765" y="313562"/>
                  </a:lnTo>
                  <a:lnTo>
                    <a:pt x="347333" y="325430"/>
                  </a:lnTo>
                  <a:lnTo>
                    <a:pt x="337032" y="336532"/>
                  </a:lnTo>
                  <a:lnTo>
                    <a:pt x="325913" y="346818"/>
                  </a:lnTo>
                  <a:lnTo>
                    <a:pt x="314028" y="356236"/>
                  </a:lnTo>
                  <a:lnTo>
                    <a:pt x="301426" y="364737"/>
                  </a:lnTo>
                  <a:lnTo>
                    <a:pt x="288159" y="372268"/>
                  </a:lnTo>
                  <a:lnTo>
                    <a:pt x="274277" y="378780"/>
                  </a:lnTo>
                  <a:lnTo>
                    <a:pt x="259832" y="384222"/>
                  </a:lnTo>
                  <a:lnTo>
                    <a:pt x="244873" y="388543"/>
                  </a:lnTo>
                  <a:lnTo>
                    <a:pt x="229453" y="391692"/>
                  </a:lnTo>
                  <a:lnTo>
                    <a:pt x="213621" y="393619"/>
                  </a:lnTo>
                  <a:lnTo>
                    <a:pt x="197429" y="394272"/>
                  </a:lnTo>
                  <a:lnTo>
                    <a:pt x="181236" y="393619"/>
                  </a:lnTo>
                  <a:lnTo>
                    <a:pt x="165405" y="391692"/>
                  </a:lnTo>
                  <a:lnTo>
                    <a:pt x="149984" y="388543"/>
                  </a:lnTo>
                  <a:lnTo>
                    <a:pt x="135026" y="384222"/>
                  </a:lnTo>
                  <a:lnTo>
                    <a:pt x="120580" y="378780"/>
                  </a:lnTo>
                  <a:lnTo>
                    <a:pt x="106699" y="372268"/>
                  </a:lnTo>
                  <a:lnTo>
                    <a:pt x="93431" y="364737"/>
                  </a:lnTo>
                  <a:lnTo>
                    <a:pt x="80830" y="356236"/>
                  </a:lnTo>
                  <a:lnTo>
                    <a:pt x="68944" y="346818"/>
                  </a:lnTo>
                  <a:lnTo>
                    <a:pt x="57825" y="336532"/>
                  </a:lnTo>
                  <a:lnTo>
                    <a:pt x="47524" y="325430"/>
                  </a:lnTo>
                  <a:lnTo>
                    <a:pt x="38092" y="313562"/>
                  </a:lnTo>
                  <a:lnTo>
                    <a:pt x="29579" y="300979"/>
                  </a:lnTo>
                  <a:lnTo>
                    <a:pt x="22036" y="287731"/>
                  </a:lnTo>
                  <a:lnTo>
                    <a:pt x="15515" y="273870"/>
                  </a:lnTo>
                  <a:lnTo>
                    <a:pt x="10065" y="259446"/>
                  </a:lnTo>
                  <a:lnTo>
                    <a:pt x="5737" y="244510"/>
                  </a:lnTo>
                  <a:lnTo>
                    <a:pt x="2584" y="229113"/>
                  </a:lnTo>
                  <a:lnTo>
                    <a:pt x="654" y="213304"/>
                  </a:lnTo>
                  <a:lnTo>
                    <a:pt x="0" y="197136"/>
                  </a:lnTo>
                  <a:lnTo>
                    <a:pt x="654" y="180967"/>
                  </a:lnTo>
                  <a:close/>
                </a:path>
              </a:pathLst>
            </a:custGeom>
            <a:solidFill>
              <a:srgbClr val="CECFC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4" name="Google Shape;1854;p13"/>
            <p:cNvSpPr/>
            <p:nvPr/>
          </p:nvSpPr>
          <p:spPr>
            <a:xfrm>
              <a:off x="373784" y="6837540"/>
              <a:ext cx="578798" cy="581782"/>
            </a:xfrm>
            <a:custGeom>
              <a:avLst/>
              <a:gdLst/>
              <a:ahLst/>
              <a:cxnLst/>
              <a:rect l="l" t="t" r="r" b="b"/>
              <a:pathLst>
                <a:path w="578798" h="581782" extrusionOk="0">
                  <a:moveTo>
                    <a:pt x="312805" y="580950"/>
                  </a:moveTo>
                  <a:lnTo>
                    <a:pt x="335838" y="578244"/>
                  </a:lnTo>
                  <a:lnTo>
                    <a:pt x="358281" y="573741"/>
                  </a:lnTo>
                  <a:lnTo>
                    <a:pt x="380061" y="567517"/>
                  </a:lnTo>
                  <a:lnTo>
                    <a:pt x="401106" y="559648"/>
                  </a:lnTo>
                  <a:lnTo>
                    <a:pt x="421341" y="550210"/>
                  </a:lnTo>
                  <a:lnTo>
                    <a:pt x="440694" y="539279"/>
                  </a:lnTo>
                  <a:lnTo>
                    <a:pt x="459093" y="526931"/>
                  </a:lnTo>
                  <a:lnTo>
                    <a:pt x="476463" y="513243"/>
                  </a:lnTo>
                  <a:lnTo>
                    <a:pt x="492732" y="498289"/>
                  </a:lnTo>
                  <a:lnTo>
                    <a:pt x="507827" y="482148"/>
                  </a:lnTo>
                  <a:lnTo>
                    <a:pt x="521675" y="464893"/>
                  </a:lnTo>
                  <a:lnTo>
                    <a:pt x="534203" y="446602"/>
                  </a:lnTo>
                  <a:lnTo>
                    <a:pt x="545338" y="427351"/>
                  </a:lnTo>
                  <a:lnTo>
                    <a:pt x="555006" y="407215"/>
                  </a:lnTo>
                  <a:lnTo>
                    <a:pt x="563135" y="386271"/>
                  </a:lnTo>
                  <a:lnTo>
                    <a:pt x="569652" y="364595"/>
                  </a:lnTo>
                  <a:lnTo>
                    <a:pt x="574483" y="342262"/>
                  </a:lnTo>
                  <a:lnTo>
                    <a:pt x="577557" y="319350"/>
                  </a:lnTo>
                  <a:lnTo>
                    <a:pt x="578727" y="297270"/>
                  </a:lnTo>
                  <a:lnTo>
                    <a:pt x="578727" y="283601"/>
                  </a:lnTo>
                  <a:lnTo>
                    <a:pt x="577155" y="258101"/>
                  </a:lnTo>
                  <a:lnTo>
                    <a:pt x="573349" y="232358"/>
                  </a:lnTo>
                  <a:lnTo>
                    <a:pt x="567353" y="207471"/>
                  </a:lnTo>
                  <a:lnTo>
                    <a:pt x="559165" y="183453"/>
                  </a:lnTo>
                  <a:lnTo>
                    <a:pt x="548787" y="160315"/>
                  </a:lnTo>
                  <a:lnTo>
                    <a:pt x="536217" y="138070"/>
                  </a:lnTo>
                  <a:lnTo>
                    <a:pt x="521458" y="116731"/>
                  </a:lnTo>
                  <a:lnTo>
                    <a:pt x="504507" y="96309"/>
                  </a:lnTo>
                  <a:lnTo>
                    <a:pt x="489695" y="80985"/>
                  </a:lnTo>
                  <a:lnTo>
                    <a:pt x="469619" y="63122"/>
                  </a:lnTo>
                  <a:lnTo>
                    <a:pt x="448594" y="47465"/>
                  </a:lnTo>
                  <a:lnTo>
                    <a:pt x="426633" y="34023"/>
                  </a:lnTo>
                  <a:lnTo>
                    <a:pt x="403744" y="22801"/>
                  </a:lnTo>
                  <a:lnTo>
                    <a:pt x="379938" y="13809"/>
                  </a:lnTo>
                  <a:lnTo>
                    <a:pt x="355225" y="7053"/>
                  </a:lnTo>
                  <a:lnTo>
                    <a:pt x="329616" y="2542"/>
                  </a:lnTo>
                  <a:lnTo>
                    <a:pt x="303120" y="282"/>
                  </a:lnTo>
                  <a:lnTo>
                    <a:pt x="289542" y="0"/>
                  </a:lnTo>
                  <a:lnTo>
                    <a:pt x="288387" y="2"/>
                  </a:lnTo>
                  <a:lnTo>
                    <a:pt x="261590" y="1221"/>
                  </a:lnTo>
                  <a:lnTo>
                    <a:pt x="235619" y="4686"/>
                  </a:lnTo>
                  <a:lnTo>
                    <a:pt x="210496" y="10391"/>
                  </a:lnTo>
                  <a:lnTo>
                    <a:pt x="186244" y="18329"/>
                  </a:lnTo>
                  <a:lnTo>
                    <a:pt x="162884" y="28496"/>
                  </a:lnTo>
                  <a:lnTo>
                    <a:pt x="140438" y="40885"/>
                  </a:lnTo>
                  <a:lnTo>
                    <a:pt x="118930" y="55492"/>
                  </a:lnTo>
                  <a:lnTo>
                    <a:pt x="98380" y="72310"/>
                  </a:lnTo>
                  <a:lnTo>
                    <a:pt x="79986" y="90113"/>
                  </a:lnTo>
                  <a:lnTo>
                    <a:pt x="62381" y="110184"/>
                  </a:lnTo>
                  <a:lnTo>
                    <a:pt x="46955" y="131228"/>
                  </a:lnTo>
                  <a:lnTo>
                    <a:pt x="33712" y="153232"/>
                  </a:lnTo>
                  <a:lnTo>
                    <a:pt x="22655" y="176180"/>
                  </a:lnTo>
                  <a:lnTo>
                    <a:pt x="29523" y="180559"/>
                  </a:lnTo>
                  <a:lnTo>
                    <a:pt x="38901" y="160578"/>
                  </a:lnTo>
                  <a:lnTo>
                    <a:pt x="49740" y="141488"/>
                  </a:lnTo>
                  <a:lnTo>
                    <a:pt x="61964" y="123364"/>
                  </a:lnTo>
                  <a:lnTo>
                    <a:pt x="75498" y="106277"/>
                  </a:lnTo>
                  <a:lnTo>
                    <a:pt x="90266" y="90300"/>
                  </a:lnTo>
                  <a:lnTo>
                    <a:pt x="106194" y="75505"/>
                  </a:lnTo>
                  <a:lnTo>
                    <a:pt x="123205" y="61964"/>
                  </a:lnTo>
                  <a:lnTo>
                    <a:pt x="141224" y="49751"/>
                  </a:lnTo>
                  <a:lnTo>
                    <a:pt x="160176" y="38936"/>
                  </a:lnTo>
                  <a:lnTo>
                    <a:pt x="179985" y="29594"/>
                  </a:lnTo>
                  <a:lnTo>
                    <a:pt x="200577" y="21795"/>
                  </a:lnTo>
                  <a:lnTo>
                    <a:pt x="221875" y="15614"/>
                  </a:lnTo>
                  <a:lnTo>
                    <a:pt x="243804" y="11121"/>
                  </a:lnTo>
                  <a:lnTo>
                    <a:pt x="266290" y="8389"/>
                  </a:lnTo>
                  <a:lnTo>
                    <a:pt x="289255" y="7492"/>
                  </a:lnTo>
                  <a:lnTo>
                    <a:pt x="312254" y="8383"/>
                  </a:lnTo>
                  <a:lnTo>
                    <a:pt x="334753" y="11095"/>
                  </a:lnTo>
                  <a:lnTo>
                    <a:pt x="356680" y="15555"/>
                  </a:lnTo>
                  <a:lnTo>
                    <a:pt x="377963" y="21692"/>
                  </a:lnTo>
                  <a:lnTo>
                    <a:pt x="398529" y="29432"/>
                  </a:lnTo>
                  <a:lnTo>
                    <a:pt x="418306" y="38703"/>
                  </a:lnTo>
                  <a:lnTo>
                    <a:pt x="437220" y="49433"/>
                  </a:lnTo>
                  <a:lnTo>
                    <a:pt x="455200" y="61549"/>
                  </a:lnTo>
                  <a:lnTo>
                    <a:pt x="472172" y="74979"/>
                  </a:lnTo>
                  <a:lnTo>
                    <a:pt x="488065" y="89651"/>
                  </a:lnTo>
                  <a:lnTo>
                    <a:pt x="502804" y="105492"/>
                  </a:lnTo>
                  <a:lnTo>
                    <a:pt x="516319" y="122430"/>
                  </a:lnTo>
                  <a:lnTo>
                    <a:pt x="528536" y="140393"/>
                  </a:lnTo>
                  <a:lnTo>
                    <a:pt x="539382" y="159307"/>
                  </a:lnTo>
                  <a:lnTo>
                    <a:pt x="548786" y="179101"/>
                  </a:lnTo>
                  <a:lnTo>
                    <a:pt x="556673" y="199702"/>
                  </a:lnTo>
                  <a:lnTo>
                    <a:pt x="562973" y="221037"/>
                  </a:lnTo>
                  <a:lnTo>
                    <a:pt x="567612" y="243036"/>
                  </a:lnTo>
                  <a:lnTo>
                    <a:pt x="570518" y="265624"/>
                  </a:lnTo>
                  <a:lnTo>
                    <a:pt x="571617" y="288730"/>
                  </a:lnTo>
                  <a:lnTo>
                    <a:pt x="570838" y="312392"/>
                  </a:lnTo>
                  <a:lnTo>
                    <a:pt x="568207" y="335447"/>
                  </a:lnTo>
                  <a:lnTo>
                    <a:pt x="563806" y="357832"/>
                  </a:lnTo>
                  <a:lnTo>
                    <a:pt x="557714" y="379482"/>
                  </a:lnTo>
                  <a:lnTo>
                    <a:pt x="550011" y="400335"/>
                  </a:lnTo>
                  <a:lnTo>
                    <a:pt x="540776" y="420328"/>
                  </a:lnTo>
                  <a:lnTo>
                    <a:pt x="530088" y="439398"/>
                  </a:lnTo>
                  <a:lnTo>
                    <a:pt x="518029" y="457482"/>
                  </a:lnTo>
                  <a:lnTo>
                    <a:pt x="504676" y="474516"/>
                  </a:lnTo>
                  <a:lnTo>
                    <a:pt x="490111" y="490437"/>
                  </a:lnTo>
                  <a:lnTo>
                    <a:pt x="474413" y="505183"/>
                  </a:lnTo>
                  <a:lnTo>
                    <a:pt x="457661" y="518690"/>
                  </a:lnTo>
                  <a:lnTo>
                    <a:pt x="439936" y="530895"/>
                  </a:lnTo>
                  <a:lnTo>
                    <a:pt x="421316" y="541736"/>
                  </a:lnTo>
                  <a:lnTo>
                    <a:pt x="401882" y="551148"/>
                  </a:lnTo>
                  <a:lnTo>
                    <a:pt x="381714" y="559069"/>
                  </a:lnTo>
                  <a:lnTo>
                    <a:pt x="360890" y="565435"/>
                  </a:lnTo>
                  <a:lnTo>
                    <a:pt x="339491" y="570184"/>
                  </a:lnTo>
                  <a:lnTo>
                    <a:pt x="317597" y="573253"/>
                  </a:lnTo>
                  <a:lnTo>
                    <a:pt x="295287" y="574578"/>
                  </a:lnTo>
                  <a:lnTo>
                    <a:pt x="271578" y="574071"/>
                  </a:lnTo>
                  <a:lnTo>
                    <a:pt x="248411" y="571650"/>
                  </a:lnTo>
                  <a:lnTo>
                    <a:pt x="225860" y="567395"/>
                  </a:lnTo>
                  <a:lnTo>
                    <a:pt x="203996" y="561385"/>
                  </a:lnTo>
                  <a:lnTo>
                    <a:pt x="182894" y="553701"/>
                  </a:lnTo>
                  <a:lnTo>
                    <a:pt x="162625" y="544420"/>
                  </a:lnTo>
                  <a:lnTo>
                    <a:pt x="143263" y="533622"/>
                  </a:lnTo>
                  <a:lnTo>
                    <a:pt x="124880" y="521387"/>
                  </a:lnTo>
                  <a:lnTo>
                    <a:pt x="107549" y="507794"/>
                  </a:lnTo>
                  <a:lnTo>
                    <a:pt x="91343" y="492923"/>
                  </a:lnTo>
                  <a:lnTo>
                    <a:pt x="76336" y="476851"/>
                  </a:lnTo>
                  <a:lnTo>
                    <a:pt x="62598" y="459660"/>
                  </a:lnTo>
                  <a:lnTo>
                    <a:pt x="50204" y="441428"/>
                  </a:lnTo>
                  <a:lnTo>
                    <a:pt x="39227" y="422234"/>
                  </a:lnTo>
                  <a:lnTo>
                    <a:pt x="29738" y="402159"/>
                  </a:lnTo>
                  <a:lnTo>
                    <a:pt x="21812" y="381280"/>
                  </a:lnTo>
                  <a:lnTo>
                    <a:pt x="15520" y="359678"/>
                  </a:lnTo>
                  <a:lnTo>
                    <a:pt x="10936" y="337431"/>
                  </a:lnTo>
                  <a:lnTo>
                    <a:pt x="8132" y="314620"/>
                  </a:lnTo>
                  <a:lnTo>
                    <a:pt x="7181" y="291323"/>
                  </a:lnTo>
                  <a:lnTo>
                    <a:pt x="8125" y="267964"/>
                  </a:lnTo>
                  <a:lnTo>
                    <a:pt x="10170" y="212341"/>
                  </a:lnTo>
                  <a:lnTo>
                    <a:pt x="7104" y="224852"/>
                  </a:lnTo>
                  <a:lnTo>
                    <a:pt x="4586" y="237587"/>
                  </a:lnTo>
                  <a:lnTo>
                    <a:pt x="2616" y="250547"/>
                  </a:lnTo>
                  <a:lnTo>
                    <a:pt x="1195" y="263727"/>
                  </a:lnTo>
                  <a:lnTo>
                    <a:pt x="322" y="277128"/>
                  </a:lnTo>
                  <a:lnTo>
                    <a:pt x="0" y="290747"/>
                  </a:lnTo>
                  <a:lnTo>
                    <a:pt x="852" y="314710"/>
                  </a:lnTo>
                  <a:lnTo>
                    <a:pt x="3616" y="338139"/>
                  </a:lnTo>
                  <a:lnTo>
                    <a:pt x="8211" y="360957"/>
                  </a:lnTo>
                  <a:lnTo>
                    <a:pt x="14557" y="383090"/>
                  </a:lnTo>
                  <a:lnTo>
                    <a:pt x="22575" y="404459"/>
                  </a:lnTo>
                  <a:lnTo>
                    <a:pt x="32185" y="424991"/>
                  </a:lnTo>
                  <a:lnTo>
                    <a:pt x="43308" y="444607"/>
                  </a:lnTo>
                  <a:lnTo>
                    <a:pt x="55863" y="463233"/>
                  </a:lnTo>
                  <a:lnTo>
                    <a:pt x="69771" y="480793"/>
                  </a:lnTo>
                  <a:lnTo>
                    <a:pt x="84952" y="497209"/>
                  </a:lnTo>
                  <a:lnTo>
                    <a:pt x="101327" y="512406"/>
                  </a:lnTo>
                  <a:lnTo>
                    <a:pt x="118816" y="526309"/>
                  </a:lnTo>
                  <a:lnTo>
                    <a:pt x="137338" y="538841"/>
                  </a:lnTo>
                  <a:lnTo>
                    <a:pt x="156815" y="549925"/>
                  </a:lnTo>
                  <a:lnTo>
                    <a:pt x="177167" y="559486"/>
                  </a:lnTo>
                  <a:lnTo>
                    <a:pt x="198313" y="567448"/>
                  </a:lnTo>
                  <a:lnTo>
                    <a:pt x="220175" y="573735"/>
                  </a:lnTo>
                  <a:lnTo>
                    <a:pt x="242673" y="578270"/>
                  </a:lnTo>
                  <a:lnTo>
                    <a:pt x="265726" y="580978"/>
                  </a:lnTo>
                  <a:lnTo>
                    <a:pt x="287513" y="581723"/>
                  </a:lnTo>
                  <a:lnTo>
                    <a:pt x="290940" y="581723"/>
                  </a:lnTo>
                  <a:lnTo>
                    <a:pt x="312805" y="580950"/>
                  </a:lnTo>
                  <a:close/>
                </a:path>
                <a:path w="578798" h="581782" extrusionOk="0">
                  <a:moveTo>
                    <a:pt x="10906" y="245136"/>
                  </a:moveTo>
                  <a:lnTo>
                    <a:pt x="15450" y="222911"/>
                  </a:lnTo>
                  <a:lnTo>
                    <a:pt x="21681" y="201361"/>
                  </a:lnTo>
                  <a:lnTo>
                    <a:pt x="29523" y="180559"/>
                  </a:lnTo>
                  <a:lnTo>
                    <a:pt x="22655" y="176180"/>
                  </a:lnTo>
                  <a:lnTo>
                    <a:pt x="17946" y="188003"/>
                  </a:lnTo>
                  <a:lnTo>
                    <a:pt x="13784" y="200058"/>
                  </a:lnTo>
                  <a:lnTo>
                    <a:pt x="10170" y="212341"/>
                  </a:lnTo>
                  <a:lnTo>
                    <a:pt x="8125" y="267964"/>
                  </a:lnTo>
                  <a:lnTo>
                    <a:pt x="10906" y="245136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5" name="Google Shape;1855;p13"/>
            <p:cNvSpPr/>
            <p:nvPr/>
          </p:nvSpPr>
          <p:spPr>
            <a:xfrm>
              <a:off x="584244" y="6885923"/>
              <a:ext cx="13282" cy="27816"/>
            </a:xfrm>
            <a:custGeom>
              <a:avLst/>
              <a:gdLst/>
              <a:ahLst/>
              <a:cxnLst/>
              <a:rect l="l" t="t" r="r" b="b"/>
              <a:pathLst>
                <a:path w="13282" h="27816" extrusionOk="0">
                  <a:moveTo>
                    <a:pt x="7379" y="2367"/>
                  </a:moveTo>
                  <a:lnTo>
                    <a:pt x="8559" y="1479"/>
                  </a:lnTo>
                  <a:lnTo>
                    <a:pt x="11216" y="0"/>
                  </a:lnTo>
                  <a:lnTo>
                    <a:pt x="12101" y="295"/>
                  </a:lnTo>
                  <a:lnTo>
                    <a:pt x="12987" y="3255"/>
                  </a:lnTo>
                  <a:lnTo>
                    <a:pt x="13282" y="4734"/>
                  </a:lnTo>
                  <a:lnTo>
                    <a:pt x="12987" y="5622"/>
                  </a:lnTo>
                  <a:lnTo>
                    <a:pt x="11511" y="6214"/>
                  </a:lnTo>
                  <a:lnTo>
                    <a:pt x="8559" y="7398"/>
                  </a:lnTo>
                  <a:lnTo>
                    <a:pt x="7083" y="10061"/>
                  </a:lnTo>
                  <a:lnTo>
                    <a:pt x="7969" y="13612"/>
                  </a:lnTo>
                  <a:lnTo>
                    <a:pt x="8854" y="16867"/>
                  </a:lnTo>
                  <a:lnTo>
                    <a:pt x="10035" y="20418"/>
                  </a:lnTo>
                  <a:lnTo>
                    <a:pt x="11216" y="23969"/>
                  </a:lnTo>
                  <a:lnTo>
                    <a:pt x="11511" y="25449"/>
                  </a:lnTo>
                  <a:lnTo>
                    <a:pt x="11216" y="26337"/>
                  </a:lnTo>
                  <a:lnTo>
                    <a:pt x="9445" y="26633"/>
                  </a:lnTo>
                  <a:lnTo>
                    <a:pt x="7969" y="27225"/>
                  </a:lnTo>
                  <a:lnTo>
                    <a:pt x="6493" y="27816"/>
                  </a:lnTo>
                  <a:lnTo>
                    <a:pt x="5903" y="25449"/>
                  </a:lnTo>
                  <a:lnTo>
                    <a:pt x="4132" y="19235"/>
                  </a:lnTo>
                  <a:lnTo>
                    <a:pt x="2066" y="13020"/>
                  </a:lnTo>
                  <a:lnTo>
                    <a:pt x="295" y="6806"/>
                  </a:lnTo>
                  <a:lnTo>
                    <a:pt x="0" y="6214"/>
                  </a:lnTo>
                  <a:lnTo>
                    <a:pt x="295" y="4734"/>
                  </a:lnTo>
                  <a:lnTo>
                    <a:pt x="885" y="4438"/>
                  </a:lnTo>
                  <a:lnTo>
                    <a:pt x="2361" y="4142"/>
                  </a:lnTo>
                  <a:lnTo>
                    <a:pt x="5608" y="4142"/>
                  </a:lnTo>
                  <a:lnTo>
                    <a:pt x="6493" y="3255"/>
                  </a:lnTo>
                  <a:lnTo>
                    <a:pt x="7379" y="2367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6" name="Google Shape;1856;p13"/>
            <p:cNvSpPr/>
            <p:nvPr/>
          </p:nvSpPr>
          <p:spPr>
            <a:xfrm>
              <a:off x="570946" y="7332195"/>
              <a:ext cx="32603" cy="37491"/>
            </a:xfrm>
            <a:custGeom>
              <a:avLst/>
              <a:gdLst/>
              <a:ahLst/>
              <a:cxnLst/>
              <a:rect l="l" t="t" r="r" b="b"/>
              <a:pathLst>
                <a:path w="32603" h="37491" extrusionOk="0">
                  <a:moveTo>
                    <a:pt x="12647" y="10172"/>
                  </a:moveTo>
                  <a:lnTo>
                    <a:pt x="9275" y="13369"/>
                  </a:lnTo>
                  <a:lnTo>
                    <a:pt x="7588" y="17728"/>
                  </a:lnTo>
                  <a:lnTo>
                    <a:pt x="7869" y="22378"/>
                  </a:lnTo>
                  <a:lnTo>
                    <a:pt x="8150" y="25866"/>
                  </a:lnTo>
                  <a:lnTo>
                    <a:pt x="10118" y="28191"/>
                  </a:lnTo>
                  <a:lnTo>
                    <a:pt x="13490" y="29354"/>
                  </a:lnTo>
                  <a:lnTo>
                    <a:pt x="16301" y="30226"/>
                  </a:lnTo>
                  <a:lnTo>
                    <a:pt x="19112" y="29354"/>
                  </a:lnTo>
                  <a:lnTo>
                    <a:pt x="21079" y="26738"/>
                  </a:lnTo>
                  <a:lnTo>
                    <a:pt x="22484" y="24994"/>
                  </a:lnTo>
                  <a:lnTo>
                    <a:pt x="27825" y="25866"/>
                  </a:lnTo>
                  <a:lnTo>
                    <a:pt x="28387" y="27900"/>
                  </a:lnTo>
                  <a:lnTo>
                    <a:pt x="28668" y="28482"/>
                  </a:lnTo>
                  <a:lnTo>
                    <a:pt x="28387" y="29644"/>
                  </a:lnTo>
                  <a:lnTo>
                    <a:pt x="27825" y="30516"/>
                  </a:lnTo>
                  <a:lnTo>
                    <a:pt x="25014" y="34876"/>
                  </a:lnTo>
                  <a:lnTo>
                    <a:pt x="20798" y="37491"/>
                  </a:lnTo>
                  <a:lnTo>
                    <a:pt x="15458" y="36910"/>
                  </a:lnTo>
                  <a:lnTo>
                    <a:pt x="9275" y="36038"/>
                  </a:lnTo>
                  <a:lnTo>
                    <a:pt x="4215" y="33132"/>
                  </a:lnTo>
                  <a:lnTo>
                    <a:pt x="1405" y="27029"/>
                  </a:lnTo>
                  <a:lnTo>
                    <a:pt x="562" y="24994"/>
                  </a:lnTo>
                  <a:lnTo>
                    <a:pt x="562" y="22669"/>
                  </a:lnTo>
                  <a:lnTo>
                    <a:pt x="0" y="21216"/>
                  </a:lnTo>
                  <a:lnTo>
                    <a:pt x="843" y="13659"/>
                  </a:lnTo>
                  <a:lnTo>
                    <a:pt x="2810" y="7556"/>
                  </a:lnTo>
                  <a:lnTo>
                    <a:pt x="8712" y="3487"/>
                  </a:lnTo>
                  <a:lnTo>
                    <a:pt x="14053" y="0"/>
                  </a:lnTo>
                  <a:lnTo>
                    <a:pt x="19674" y="290"/>
                  </a:lnTo>
                  <a:lnTo>
                    <a:pt x="25014" y="3196"/>
                  </a:lnTo>
                  <a:lnTo>
                    <a:pt x="30073" y="5812"/>
                  </a:lnTo>
                  <a:lnTo>
                    <a:pt x="32603" y="9881"/>
                  </a:lnTo>
                  <a:lnTo>
                    <a:pt x="32603" y="19181"/>
                  </a:lnTo>
                  <a:lnTo>
                    <a:pt x="32041" y="19472"/>
                  </a:lnTo>
                  <a:lnTo>
                    <a:pt x="28949" y="18310"/>
                  </a:lnTo>
                  <a:lnTo>
                    <a:pt x="26419" y="17438"/>
                  </a:lnTo>
                  <a:lnTo>
                    <a:pt x="25295" y="16275"/>
                  </a:lnTo>
                  <a:lnTo>
                    <a:pt x="24733" y="13659"/>
                  </a:lnTo>
                  <a:lnTo>
                    <a:pt x="23890" y="8137"/>
                  </a:lnTo>
                  <a:lnTo>
                    <a:pt x="16582" y="6103"/>
                  </a:lnTo>
                  <a:lnTo>
                    <a:pt x="12647" y="10172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7" name="Google Shape;1857;p13"/>
            <p:cNvSpPr/>
            <p:nvPr/>
          </p:nvSpPr>
          <p:spPr>
            <a:xfrm>
              <a:off x="746202" y="7330972"/>
              <a:ext cx="5515" cy="16751"/>
            </a:xfrm>
            <a:custGeom>
              <a:avLst/>
              <a:gdLst/>
              <a:ahLst/>
              <a:cxnLst/>
              <a:rect l="l" t="t" r="r" b="b"/>
              <a:pathLst>
                <a:path w="5515" h="16751" extrusionOk="0">
                  <a:moveTo>
                    <a:pt x="290" y="1444"/>
                  </a:moveTo>
                  <a:lnTo>
                    <a:pt x="2612" y="866"/>
                  </a:lnTo>
                  <a:lnTo>
                    <a:pt x="3483" y="577"/>
                  </a:lnTo>
                  <a:lnTo>
                    <a:pt x="4354" y="0"/>
                  </a:lnTo>
                  <a:lnTo>
                    <a:pt x="5515" y="16751"/>
                  </a:lnTo>
                  <a:lnTo>
                    <a:pt x="2322" y="16751"/>
                  </a:lnTo>
                  <a:lnTo>
                    <a:pt x="1161" y="12130"/>
                  </a:lnTo>
                  <a:lnTo>
                    <a:pt x="3773" y="11841"/>
                  </a:lnTo>
                  <a:lnTo>
                    <a:pt x="2902" y="9530"/>
                  </a:lnTo>
                  <a:lnTo>
                    <a:pt x="2031" y="6931"/>
                  </a:lnTo>
                  <a:lnTo>
                    <a:pt x="870" y="4620"/>
                  </a:lnTo>
                  <a:lnTo>
                    <a:pt x="0" y="2888"/>
                  </a:lnTo>
                  <a:lnTo>
                    <a:pt x="290" y="144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8" name="Google Shape;1858;p13"/>
            <p:cNvSpPr/>
            <p:nvPr/>
          </p:nvSpPr>
          <p:spPr>
            <a:xfrm>
              <a:off x="735172" y="7330972"/>
              <a:ext cx="30187" cy="38700"/>
            </a:xfrm>
            <a:custGeom>
              <a:avLst/>
              <a:gdLst/>
              <a:ahLst/>
              <a:cxnLst/>
              <a:rect l="l" t="t" r="r" b="b"/>
              <a:pathLst>
                <a:path w="30187" h="38700" extrusionOk="0">
                  <a:moveTo>
                    <a:pt x="15384" y="0"/>
                  </a:moveTo>
                  <a:lnTo>
                    <a:pt x="16835" y="0"/>
                  </a:lnTo>
                  <a:lnTo>
                    <a:pt x="18286" y="577"/>
                  </a:lnTo>
                  <a:lnTo>
                    <a:pt x="18577" y="1155"/>
                  </a:lnTo>
                  <a:lnTo>
                    <a:pt x="23330" y="12872"/>
                  </a:lnTo>
                  <a:lnTo>
                    <a:pt x="27953" y="24719"/>
                  </a:lnTo>
                  <a:lnTo>
                    <a:pt x="29607" y="29169"/>
                  </a:lnTo>
                  <a:lnTo>
                    <a:pt x="30187" y="30614"/>
                  </a:lnTo>
                  <a:lnTo>
                    <a:pt x="29897" y="31480"/>
                  </a:lnTo>
                  <a:lnTo>
                    <a:pt x="28446" y="31769"/>
                  </a:lnTo>
                  <a:lnTo>
                    <a:pt x="26704" y="32058"/>
                  </a:lnTo>
                  <a:lnTo>
                    <a:pt x="24962" y="32346"/>
                  </a:lnTo>
                  <a:lnTo>
                    <a:pt x="23221" y="32635"/>
                  </a:lnTo>
                  <a:lnTo>
                    <a:pt x="22931" y="32924"/>
                  </a:lnTo>
                  <a:lnTo>
                    <a:pt x="22350" y="32924"/>
                  </a:lnTo>
                  <a:lnTo>
                    <a:pt x="22060" y="33213"/>
                  </a:lnTo>
                  <a:lnTo>
                    <a:pt x="18867" y="36967"/>
                  </a:lnTo>
                  <a:lnTo>
                    <a:pt x="15093" y="38700"/>
                  </a:lnTo>
                  <a:lnTo>
                    <a:pt x="10159" y="36967"/>
                  </a:lnTo>
                  <a:lnTo>
                    <a:pt x="4934" y="35235"/>
                  </a:lnTo>
                  <a:lnTo>
                    <a:pt x="2322" y="30902"/>
                  </a:lnTo>
                  <a:lnTo>
                    <a:pt x="1451" y="25704"/>
                  </a:lnTo>
                  <a:lnTo>
                    <a:pt x="0" y="19639"/>
                  </a:lnTo>
                  <a:lnTo>
                    <a:pt x="2612" y="14151"/>
                  </a:lnTo>
                  <a:lnTo>
                    <a:pt x="7546" y="12707"/>
                  </a:lnTo>
                  <a:lnTo>
                    <a:pt x="9869" y="11841"/>
                  </a:lnTo>
                  <a:lnTo>
                    <a:pt x="12191" y="12130"/>
                  </a:lnTo>
                  <a:lnTo>
                    <a:pt x="13352" y="16751"/>
                  </a:lnTo>
                  <a:lnTo>
                    <a:pt x="10449" y="16751"/>
                  </a:lnTo>
                  <a:lnTo>
                    <a:pt x="8417" y="19061"/>
                  </a:lnTo>
                  <a:lnTo>
                    <a:pt x="8417" y="27148"/>
                  </a:lnTo>
                  <a:lnTo>
                    <a:pt x="11900" y="31191"/>
                  </a:lnTo>
                  <a:lnTo>
                    <a:pt x="18286" y="31191"/>
                  </a:lnTo>
                  <a:lnTo>
                    <a:pt x="20028" y="28881"/>
                  </a:lnTo>
                  <a:lnTo>
                    <a:pt x="20028" y="21660"/>
                  </a:lnTo>
                  <a:lnTo>
                    <a:pt x="16545" y="16751"/>
                  </a:lnTo>
                  <a:lnTo>
                    <a:pt x="15384" y="0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9" name="Google Shape;1859;p13"/>
            <p:cNvSpPr/>
            <p:nvPr/>
          </p:nvSpPr>
          <p:spPr>
            <a:xfrm>
              <a:off x="711026" y="7349116"/>
              <a:ext cx="26564" cy="27816"/>
            </a:xfrm>
            <a:custGeom>
              <a:avLst/>
              <a:gdLst/>
              <a:ahLst/>
              <a:cxnLst/>
              <a:rect l="l" t="t" r="r" b="b"/>
              <a:pathLst>
                <a:path w="26564" h="27816" extrusionOk="0">
                  <a:moveTo>
                    <a:pt x="8854" y="16919"/>
                  </a:moveTo>
                  <a:lnTo>
                    <a:pt x="11140" y="21794"/>
                  </a:lnTo>
                  <a:lnTo>
                    <a:pt x="15710" y="22367"/>
                  </a:lnTo>
                  <a:lnTo>
                    <a:pt x="18566" y="18353"/>
                  </a:lnTo>
                  <a:lnTo>
                    <a:pt x="19995" y="16632"/>
                  </a:lnTo>
                  <a:lnTo>
                    <a:pt x="21708" y="16058"/>
                  </a:lnTo>
                  <a:lnTo>
                    <a:pt x="23422" y="15485"/>
                  </a:lnTo>
                  <a:lnTo>
                    <a:pt x="25136" y="15198"/>
                  </a:lnTo>
                  <a:lnTo>
                    <a:pt x="25993" y="16058"/>
                  </a:lnTo>
                  <a:lnTo>
                    <a:pt x="25422" y="17492"/>
                  </a:lnTo>
                  <a:lnTo>
                    <a:pt x="24279" y="19500"/>
                  </a:lnTo>
                  <a:lnTo>
                    <a:pt x="23422" y="22080"/>
                  </a:lnTo>
                  <a:lnTo>
                    <a:pt x="21708" y="23514"/>
                  </a:lnTo>
                  <a:lnTo>
                    <a:pt x="17995" y="27242"/>
                  </a:lnTo>
                  <a:lnTo>
                    <a:pt x="11140" y="27816"/>
                  </a:lnTo>
                  <a:lnTo>
                    <a:pt x="7141" y="25522"/>
                  </a:lnTo>
                  <a:lnTo>
                    <a:pt x="2856" y="22941"/>
                  </a:lnTo>
                  <a:lnTo>
                    <a:pt x="0" y="16632"/>
                  </a:lnTo>
                  <a:lnTo>
                    <a:pt x="856" y="11183"/>
                  </a:lnTo>
                  <a:lnTo>
                    <a:pt x="1713" y="6308"/>
                  </a:lnTo>
                  <a:lnTo>
                    <a:pt x="4570" y="2867"/>
                  </a:lnTo>
                  <a:lnTo>
                    <a:pt x="7426" y="9176"/>
                  </a:lnTo>
                  <a:lnTo>
                    <a:pt x="7998" y="12044"/>
                  </a:lnTo>
                  <a:lnTo>
                    <a:pt x="10854" y="11470"/>
                  </a:lnTo>
                  <a:lnTo>
                    <a:pt x="13425" y="10610"/>
                  </a:lnTo>
                  <a:lnTo>
                    <a:pt x="16567" y="9749"/>
                  </a:lnTo>
                  <a:lnTo>
                    <a:pt x="15139" y="6882"/>
                  </a:lnTo>
                  <a:lnTo>
                    <a:pt x="13710" y="6022"/>
                  </a:lnTo>
                  <a:lnTo>
                    <a:pt x="13996" y="0"/>
                  </a:lnTo>
                  <a:lnTo>
                    <a:pt x="18281" y="860"/>
                  </a:lnTo>
                  <a:lnTo>
                    <a:pt x="21708" y="4588"/>
                  </a:lnTo>
                  <a:lnTo>
                    <a:pt x="21994" y="4875"/>
                  </a:lnTo>
                  <a:lnTo>
                    <a:pt x="22280" y="5161"/>
                  </a:lnTo>
                  <a:lnTo>
                    <a:pt x="22565" y="5735"/>
                  </a:lnTo>
                  <a:lnTo>
                    <a:pt x="26564" y="11757"/>
                  </a:lnTo>
                  <a:lnTo>
                    <a:pt x="25993" y="12617"/>
                  </a:lnTo>
                  <a:lnTo>
                    <a:pt x="19423" y="14338"/>
                  </a:lnTo>
                  <a:lnTo>
                    <a:pt x="15996" y="15198"/>
                  </a:lnTo>
                  <a:lnTo>
                    <a:pt x="12568" y="16058"/>
                  </a:lnTo>
                  <a:lnTo>
                    <a:pt x="8854" y="16919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0" name="Google Shape;1860;p13"/>
            <p:cNvSpPr/>
            <p:nvPr/>
          </p:nvSpPr>
          <p:spPr>
            <a:xfrm>
              <a:off x="715597" y="7349116"/>
              <a:ext cx="9426" cy="9176"/>
            </a:xfrm>
            <a:custGeom>
              <a:avLst/>
              <a:gdLst/>
              <a:ahLst/>
              <a:cxnLst/>
              <a:rect l="l" t="t" r="r" b="b"/>
              <a:pathLst>
                <a:path w="9426" h="9176" extrusionOk="0">
                  <a:moveTo>
                    <a:pt x="6855" y="6595"/>
                  </a:moveTo>
                  <a:lnTo>
                    <a:pt x="4284" y="7455"/>
                  </a:lnTo>
                  <a:lnTo>
                    <a:pt x="2856" y="9176"/>
                  </a:lnTo>
                  <a:lnTo>
                    <a:pt x="0" y="2867"/>
                  </a:lnTo>
                  <a:lnTo>
                    <a:pt x="4855" y="1433"/>
                  </a:lnTo>
                  <a:lnTo>
                    <a:pt x="9426" y="0"/>
                  </a:lnTo>
                  <a:lnTo>
                    <a:pt x="9140" y="6022"/>
                  </a:lnTo>
                  <a:lnTo>
                    <a:pt x="6855" y="659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1" name="Google Shape;1861;p13"/>
            <p:cNvSpPr/>
            <p:nvPr/>
          </p:nvSpPr>
          <p:spPr>
            <a:xfrm>
              <a:off x="602348" y="7350335"/>
              <a:ext cx="25357" cy="29026"/>
            </a:xfrm>
            <a:custGeom>
              <a:avLst/>
              <a:gdLst/>
              <a:ahLst/>
              <a:cxnLst/>
              <a:rect l="l" t="t" r="r" b="b"/>
              <a:pathLst>
                <a:path w="25357" h="29026" extrusionOk="0">
                  <a:moveTo>
                    <a:pt x="20229" y="27248"/>
                  </a:moveTo>
                  <a:lnTo>
                    <a:pt x="14245" y="29026"/>
                  </a:lnTo>
                  <a:lnTo>
                    <a:pt x="7692" y="26656"/>
                  </a:lnTo>
                  <a:lnTo>
                    <a:pt x="2849" y="24583"/>
                  </a:lnTo>
                  <a:lnTo>
                    <a:pt x="0" y="20140"/>
                  </a:lnTo>
                  <a:lnTo>
                    <a:pt x="569" y="14216"/>
                  </a:lnTo>
                  <a:lnTo>
                    <a:pt x="854" y="7404"/>
                  </a:lnTo>
                  <a:lnTo>
                    <a:pt x="4273" y="2665"/>
                  </a:lnTo>
                  <a:lnTo>
                    <a:pt x="9972" y="1184"/>
                  </a:lnTo>
                  <a:lnTo>
                    <a:pt x="15100" y="0"/>
                  </a:lnTo>
                  <a:lnTo>
                    <a:pt x="20798" y="2073"/>
                  </a:lnTo>
                  <a:lnTo>
                    <a:pt x="23363" y="6516"/>
                  </a:lnTo>
                  <a:lnTo>
                    <a:pt x="25357" y="9774"/>
                  </a:lnTo>
                  <a:lnTo>
                    <a:pt x="25072" y="13328"/>
                  </a:lnTo>
                  <a:lnTo>
                    <a:pt x="24502" y="16882"/>
                  </a:lnTo>
                  <a:lnTo>
                    <a:pt x="24502" y="18659"/>
                  </a:lnTo>
                  <a:lnTo>
                    <a:pt x="23363" y="18955"/>
                  </a:lnTo>
                  <a:lnTo>
                    <a:pt x="21653" y="18659"/>
                  </a:lnTo>
                  <a:lnTo>
                    <a:pt x="17949" y="17474"/>
                  </a:lnTo>
                  <a:lnTo>
                    <a:pt x="17949" y="10070"/>
                  </a:lnTo>
                  <a:lnTo>
                    <a:pt x="16525" y="8885"/>
                  </a:lnTo>
                  <a:lnTo>
                    <a:pt x="15100" y="7108"/>
                  </a:lnTo>
                  <a:lnTo>
                    <a:pt x="13391" y="6812"/>
                  </a:lnTo>
                  <a:lnTo>
                    <a:pt x="11681" y="6219"/>
                  </a:lnTo>
                  <a:lnTo>
                    <a:pt x="9687" y="7404"/>
                  </a:lnTo>
                  <a:lnTo>
                    <a:pt x="9117" y="10070"/>
                  </a:lnTo>
                  <a:lnTo>
                    <a:pt x="11681" y="10662"/>
                  </a:lnTo>
                  <a:lnTo>
                    <a:pt x="13960" y="16586"/>
                  </a:lnTo>
                  <a:lnTo>
                    <a:pt x="9972" y="15697"/>
                  </a:lnTo>
                  <a:lnTo>
                    <a:pt x="9402" y="15401"/>
                  </a:lnTo>
                  <a:lnTo>
                    <a:pt x="7977" y="15401"/>
                  </a:lnTo>
                  <a:lnTo>
                    <a:pt x="7692" y="15993"/>
                  </a:lnTo>
                  <a:lnTo>
                    <a:pt x="7407" y="16586"/>
                  </a:lnTo>
                  <a:lnTo>
                    <a:pt x="7407" y="17771"/>
                  </a:lnTo>
                  <a:lnTo>
                    <a:pt x="7692" y="18659"/>
                  </a:lnTo>
                  <a:lnTo>
                    <a:pt x="8832" y="21325"/>
                  </a:lnTo>
                  <a:lnTo>
                    <a:pt x="12536" y="22806"/>
                  </a:lnTo>
                  <a:lnTo>
                    <a:pt x="15385" y="21029"/>
                  </a:lnTo>
                  <a:lnTo>
                    <a:pt x="17949" y="19548"/>
                  </a:lnTo>
                  <a:lnTo>
                    <a:pt x="20229" y="20436"/>
                  </a:lnTo>
                  <a:lnTo>
                    <a:pt x="22793" y="21621"/>
                  </a:lnTo>
                  <a:lnTo>
                    <a:pt x="20229" y="27248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2" name="Google Shape;1862;p13"/>
            <p:cNvSpPr/>
            <p:nvPr/>
          </p:nvSpPr>
          <p:spPr>
            <a:xfrm>
              <a:off x="614030" y="7360405"/>
              <a:ext cx="6268" cy="7404"/>
            </a:xfrm>
            <a:custGeom>
              <a:avLst/>
              <a:gdLst/>
              <a:ahLst/>
              <a:cxnLst/>
              <a:rect l="l" t="t" r="r" b="b"/>
              <a:pathLst>
                <a:path w="6268" h="7404" extrusionOk="0">
                  <a:moveTo>
                    <a:pt x="6268" y="7404"/>
                  </a:moveTo>
                  <a:lnTo>
                    <a:pt x="2279" y="6516"/>
                  </a:lnTo>
                  <a:lnTo>
                    <a:pt x="0" y="592"/>
                  </a:lnTo>
                  <a:lnTo>
                    <a:pt x="2279" y="1480"/>
                  </a:lnTo>
                  <a:lnTo>
                    <a:pt x="4843" y="1777"/>
                  </a:lnTo>
                  <a:lnTo>
                    <a:pt x="5128" y="1777"/>
                  </a:lnTo>
                  <a:lnTo>
                    <a:pt x="5698" y="592"/>
                  </a:lnTo>
                  <a:lnTo>
                    <a:pt x="6268" y="0"/>
                  </a:lnTo>
                  <a:lnTo>
                    <a:pt x="6268" y="740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3" name="Google Shape;1863;p13"/>
            <p:cNvSpPr/>
            <p:nvPr/>
          </p:nvSpPr>
          <p:spPr>
            <a:xfrm>
              <a:off x="679636" y="7346700"/>
              <a:ext cx="15697" cy="36282"/>
            </a:xfrm>
            <a:custGeom>
              <a:avLst/>
              <a:gdLst/>
              <a:ahLst/>
              <a:cxnLst/>
              <a:rect l="l" t="t" r="r" b="b"/>
              <a:pathLst>
                <a:path w="15697" h="36282" extrusionOk="0">
                  <a:moveTo>
                    <a:pt x="13984" y="6335"/>
                  </a:moveTo>
                  <a:lnTo>
                    <a:pt x="13414" y="6622"/>
                  </a:lnTo>
                  <a:lnTo>
                    <a:pt x="12843" y="7198"/>
                  </a:lnTo>
                  <a:lnTo>
                    <a:pt x="11986" y="7198"/>
                  </a:lnTo>
                  <a:lnTo>
                    <a:pt x="11416" y="7486"/>
                  </a:lnTo>
                  <a:lnTo>
                    <a:pt x="10845" y="8062"/>
                  </a:lnTo>
                  <a:lnTo>
                    <a:pt x="10559" y="8926"/>
                  </a:lnTo>
                  <a:lnTo>
                    <a:pt x="10845" y="9502"/>
                  </a:lnTo>
                  <a:lnTo>
                    <a:pt x="10845" y="9790"/>
                  </a:lnTo>
                  <a:lnTo>
                    <a:pt x="11701" y="10366"/>
                  </a:lnTo>
                  <a:lnTo>
                    <a:pt x="12272" y="10366"/>
                  </a:lnTo>
                  <a:lnTo>
                    <a:pt x="13699" y="10654"/>
                  </a:lnTo>
                  <a:lnTo>
                    <a:pt x="15126" y="9790"/>
                  </a:lnTo>
                  <a:lnTo>
                    <a:pt x="15411" y="12094"/>
                  </a:lnTo>
                  <a:lnTo>
                    <a:pt x="15697" y="14109"/>
                  </a:lnTo>
                  <a:lnTo>
                    <a:pt x="15126" y="15261"/>
                  </a:lnTo>
                  <a:lnTo>
                    <a:pt x="12843" y="15837"/>
                  </a:lnTo>
                  <a:lnTo>
                    <a:pt x="12272" y="15837"/>
                  </a:lnTo>
                  <a:lnTo>
                    <a:pt x="11416" y="16989"/>
                  </a:lnTo>
                  <a:lnTo>
                    <a:pt x="11416" y="17853"/>
                  </a:lnTo>
                  <a:lnTo>
                    <a:pt x="11701" y="22172"/>
                  </a:lnTo>
                  <a:lnTo>
                    <a:pt x="11986" y="26491"/>
                  </a:lnTo>
                  <a:lnTo>
                    <a:pt x="12557" y="30811"/>
                  </a:lnTo>
                  <a:lnTo>
                    <a:pt x="13128" y="34842"/>
                  </a:lnTo>
                  <a:lnTo>
                    <a:pt x="12843" y="35418"/>
                  </a:lnTo>
                  <a:lnTo>
                    <a:pt x="8562" y="35706"/>
                  </a:lnTo>
                  <a:lnTo>
                    <a:pt x="6278" y="36282"/>
                  </a:lnTo>
                  <a:lnTo>
                    <a:pt x="5422" y="35130"/>
                  </a:lnTo>
                  <a:lnTo>
                    <a:pt x="5422" y="32538"/>
                  </a:lnTo>
                  <a:lnTo>
                    <a:pt x="5137" y="28219"/>
                  </a:lnTo>
                  <a:lnTo>
                    <a:pt x="4851" y="23900"/>
                  </a:lnTo>
                  <a:lnTo>
                    <a:pt x="4281" y="19292"/>
                  </a:lnTo>
                  <a:lnTo>
                    <a:pt x="4281" y="17853"/>
                  </a:lnTo>
                  <a:lnTo>
                    <a:pt x="3995" y="16125"/>
                  </a:lnTo>
                  <a:lnTo>
                    <a:pt x="1427" y="16413"/>
                  </a:lnTo>
                  <a:lnTo>
                    <a:pt x="1141" y="16413"/>
                  </a:lnTo>
                  <a:lnTo>
                    <a:pt x="0" y="14973"/>
                  </a:lnTo>
                  <a:lnTo>
                    <a:pt x="0" y="13533"/>
                  </a:lnTo>
                  <a:lnTo>
                    <a:pt x="570" y="11806"/>
                  </a:lnTo>
                  <a:lnTo>
                    <a:pt x="1141" y="11806"/>
                  </a:lnTo>
                  <a:lnTo>
                    <a:pt x="2854" y="11230"/>
                  </a:lnTo>
                  <a:lnTo>
                    <a:pt x="3139" y="10078"/>
                  </a:lnTo>
                  <a:lnTo>
                    <a:pt x="3424" y="8350"/>
                  </a:lnTo>
                  <a:lnTo>
                    <a:pt x="3995" y="3455"/>
                  </a:lnTo>
                  <a:lnTo>
                    <a:pt x="8847" y="0"/>
                  </a:lnTo>
                  <a:lnTo>
                    <a:pt x="13128" y="1439"/>
                  </a:lnTo>
                  <a:lnTo>
                    <a:pt x="13984" y="1727"/>
                  </a:lnTo>
                  <a:lnTo>
                    <a:pt x="14555" y="3743"/>
                  </a:lnTo>
                  <a:lnTo>
                    <a:pt x="14841" y="4895"/>
                  </a:lnTo>
                  <a:lnTo>
                    <a:pt x="15126" y="5471"/>
                  </a:lnTo>
                  <a:lnTo>
                    <a:pt x="13984" y="633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4" name="Google Shape;1864;p13"/>
            <p:cNvSpPr/>
            <p:nvPr/>
          </p:nvSpPr>
          <p:spPr>
            <a:xfrm>
              <a:off x="649439" y="7350331"/>
              <a:ext cx="16905" cy="32654"/>
            </a:xfrm>
            <a:custGeom>
              <a:avLst/>
              <a:gdLst/>
              <a:ahLst/>
              <a:cxnLst/>
              <a:rect l="l" t="t" r="r" b="b"/>
              <a:pathLst>
                <a:path w="16905" h="32654" extrusionOk="0">
                  <a:moveTo>
                    <a:pt x="14864" y="12536"/>
                  </a:moveTo>
                  <a:lnTo>
                    <a:pt x="14281" y="12536"/>
                  </a:lnTo>
                  <a:lnTo>
                    <a:pt x="11658" y="12245"/>
                  </a:lnTo>
                  <a:lnTo>
                    <a:pt x="11075" y="13702"/>
                  </a:lnTo>
                  <a:lnTo>
                    <a:pt x="11075" y="18367"/>
                  </a:lnTo>
                  <a:lnTo>
                    <a:pt x="10784" y="20991"/>
                  </a:lnTo>
                  <a:lnTo>
                    <a:pt x="10784" y="23324"/>
                  </a:lnTo>
                  <a:lnTo>
                    <a:pt x="10492" y="25656"/>
                  </a:lnTo>
                  <a:lnTo>
                    <a:pt x="11075" y="26822"/>
                  </a:lnTo>
                  <a:lnTo>
                    <a:pt x="13407" y="27114"/>
                  </a:lnTo>
                  <a:lnTo>
                    <a:pt x="14281" y="27406"/>
                  </a:lnTo>
                  <a:lnTo>
                    <a:pt x="15447" y="28572"/>
                  </a:lnTo>
                  <a:lnTo>
                    <a:pt x="15447" y="29446"/>
                  </a:lnTo>
                  <a:lnTo>
                    <a:pt x="15739" y="30904"/>
                  </a:lnTo>
                  <a:lnTo>
                    <a:pt x="15447" y="32362"/>
                  </a:lnTo>
                  <a:lnTo>
                    <a:pt x="13407" y="32654"/>
                  </a:lnTo>
                  <a:lnTo>
                    <a:pt x="4954" y="32654"/>
                  </a:lnTo>
                  <a:lnTo>
                    <a:pt x="3206" y="30613"/>
                  </a:lnTo>
                  <a:lnTo>
                    <a:pt x="3789" y="25365"/>
                  </a:lnTo>
                  <a:lnTo>
                    <a:pt x="3789" y="13411"/>
                  </a:lnTo>
                  <a:lnTo>
                    <a:pt x="3497" y="12245"/>
                  </a:lnTo>
                  <a:lnTo>
                    <a:pt x="1748" y="11953"/>
                  </a:lnTo>
                  <a:lnTo>
                    <a:pt x="874" y="11662"/>
                  </a:lnTo>
                  <a:lnTo>
                    <a:pt x="0" y="10495"/>
                  </a:lnTo>
                  <a:lnTo>
                    <a:pt x="0" y="8746"/>
                  </a:lnTo>
                  <a:lnTo>
                    <a:pt x="874" y="7288"/>
                  </a:lnTo>
                  <a:lnTo>
                    <a:pt x="1457" y="7288"/>
                  </a:lnTo>
                  <a:lnTo>
                    <a:pt x="4371" y="6997"/>
                  </a:lnTo>
                  <a:lnTo>
                    <a:pt x="4371" y="2040"/>
                  </a:lnTo>
                  <a:lnTo>
                    <a:pt x="3789" y="0"/>
                  </a:lnTo>
                  <a:lnTo>
                    <a:pt x="6412" y="0"/>
                  </a:lnTo>
                  <a:lnTo>
                    <a:pt x="11367" y="291"/>
                  </a:lnTo>
                  <a:lnTo>
                    <a:pt x="11658" y="291"/>
                  </a:lnTo>
                  <a:lnTo>
                    <a:pt x="11658" y="7580"/>
                  </a:lnTo>
                  <a:lnTo>
                    <a:pt x="14864" y="7580"/>
                  </a:lnTo>
                  <a:lnTo>
                    <a:pt x="16905" y="7871"/>
                  </a:lnTo>
                  <a:lnTo>
                    <a:pt x="16322" y="9912"/>
                  </a:lnTo>
                  <a:lnTo>
                    <a:pt x="16030" y="11079"/>
                  </a:lnTo>
                  <a:lnTo>
                    <a:pt x="16030" y="11662"/>
                  </a:lnTo>
                  <a:lnTo>
                    <a:pt x="14864" y="12536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5" name="Google Shape;1865;p13"/>
            <p:cNvSpPr/>
            <p:nvPr/>
          </p:nvSpPr>
          <p:spPr>
            <a:xfrm>
              <a:off x="628924" y="7355170"/>
              <a:ext cx="19319" cy="25397"/>
            </a:xfrm>
            <a:custGeom>
              <a:avLst/>
              <a:gdLst/>
              <a:ahLst/>
              <a:cxnLst/>
              <a:rect l="l" t="t" r="r" b="b"/>
              <a:pathLst>
                <a:path w="19319" h="25397" extrusionOk="0">
                  <a:moveTo>
                    <a:pt x="1463" y="15802"/>
                  </a:moveTo>
                  <a:lnTo>
                    <a:pt x="2049" y="9594"/>
                  </a:lnTo>
                  <a:lnTo>
                    <a:pt x="2927" y="3668"/>
                  </a:lnTo>
                  <a:lnTo>
                    <a:pt x="3219" y="2539"/>
                  </a:lnTo>
                  <a:lnTo>
                    <a:pt x="4098" y="846"/>
                  </a:lnTo>
                  <a:lnTo>
                    <a:pt x="6439" y="846"/>
                  </a:lnTo>
                  <a:lnTo>
                    <a:pt x="9074" y="0"/>
                  </a:lnTo>
                  <a:lnTo>
                    <a:pt x="10245" y="2821"/>
                  </a:lnTo>
                  <a:lnTo>
                    <a:pt x="10245" y="3104"/>
                  </a:lnTo>
                  <a:lnTo>
                    <a:pt x="10537" y="3104"/>
                  </a:lnTo>
                  <a:lnTo>
                    <a:pt x="10537" y="3386"/>
                  </a:lnTo>
                  <a:lnTo>
                    <a:pt x="12294" y="2821"/>
                  </a:lnTo>
                  <a:lnTo>
                    <a:pt x="14050" y="1975"/>
                  </a:lnTo>
                  <a:lnTo>
                    <a:pt x="15806" y="1693"/>
                  </a:lnTo>
                  <a:lnTo>
                    <a:pt x="16977" y="1410"/>
                  </a:lnTo>
                  <a:lnTo>
                    <a:pt x="19026" y="1975"/>
                  </a:lnTo>
                  <a:lnTo>
                    <a:pt x="19026" y="2539"/>
                  </a:lnTo>
                  <a:lnTo>
                    <a:pt x="19319" y="3950"/>
                  </a:lnTo>
                  <a:lnTo>
                    <a:pt x="19026" y="5926"/>
                  </a:lnTo>
                  <a:lnTo>
                    <a:pt x="18734" y="7337"/>
                  </a:lnTo>
                  <a:lnTo>
                    <a:pt x="18734" y="7901"/>
                  </a:lnTo>
                  <a:lnTo>
                    <a:pt x="16977" y="8183"/>
                  </a:lnTo>
                  <a:lnTo>
                    <a:pt x="16099" y="8183"/>
                  </a:lnTo>
                  <a:lnTo>
                    <a:pt x="12587" y="7901"/>
                  </a:lnTo>
                  <a:lnTo>
                    <a:pt x="9952" y="9594"/>
                  </a:lnTo>
                  <a:lnTo>
                    <a:pt x="9367" y="13545"/>
                  </a:lnTo>
                  <a:lnTo>
                    <a:pt x="8488" y="16367"/>
                  </a:lnTo>
                  <a:lnTo>
                    <a:pt x="8196" y="19753"/>
                  </a:lnTo>
                  <a:lnTo>
                    <a:pt x="7903" y="22857"/>
                  </a:lnTo>
                  <a:lnTo>
                    <a:pt x="7610" y="25115"/>
                  </a:lnTo>
                  <a:lnTo>
                    <a:pt x="6439" y="25397"/>
                  </a:lnTo>
                  <a:lnTo>
                    <a:pt x="4390" y="25115"/>
                  </a:lnTo>
                  <a:lnTo>
                    <a:pt x="2634" y="24551"/>
                  </a:lnTo>
                  <a:lnTo>
                    <a:pt x="0" y="25115"/>
                  </a:lnTo>
                  <a:lnTo>
                    <a:pt x="585" y="22011"/>
                  </a:lnTo>
                  <a:lnTo>
                    <a:pt x="1463" y="15802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6" name="Google Shape;1866;p13"/>
            <p:cNvSpPr/>
            <p:nvPr/>
          </p:nvSpPr>
          <p:spPr>
            <a:xfrm>
              <a:off x="698945" y="7355165"/>
              <a:ext cx="10867" cy="25397"/>
            </a:xfrm>
            <a:custGeom>
              <a:avLst/>
              <a:gdLst/>
              <a:ahLst/>
              <a:cxnLst/>
              <a:rect l="l" t="t" r="r" b="b"/>
              <a:pathLst>
                <a:path w="10867" h="25397" extrusionOk="0">
                  <a:moveTo>
                    <a:pt x="285" y="1167"/>
                  </a:moveTo>
                  <a:lnTo>
                    <a:pt x="571" y="1167"/>
                  </a:lnTo>
                  <a:lnTo>
                    <a:pt x="2287" y="583"/>
                  </a:lnTo>
                  <a:lnTo>
                    <a:pt x="4003" y="0"/>
                  </a:lnTo>
                  <a:lnTo>
                    <a:pt x="5719" y="0"/>
                  </a:lnTo>
                  <a:lnTo>
                    <a:pt x="6577" y="291"/>
                  </a:lnTo>
                  <a:lnTo>
                    <a:pt x="7149" y="2335"/>
                  </a:lnTo>
                  <a:lnTo>
                    <a:pt x="7435" y="3503"/>
                  </a:lnTo>
                  <a:lnTo>
                    <a:pt x="8293" y="8757"/>
                  </a:lnTo>
                  <a:lnTo>
                    <a:pt x="9151" y="14304"/>
                  </a:lnTo>
                  <a:lnTo>
                    <a:pt x="10009" y="19850"/>
                  </a:lnTo>
                  <a:lnTo>
                    <a:pt x="10867" y="24521"/>
                  </a:lnTo>
                  <a:lnTo>
                    <a:pt x="10295" y="25105"/>
                  </a:lnTo>
                  <a:lnTo>
                    <a:pt x="4861" y="25397"/>
                  </a:lnTo>
                  <a:lnTo>
                    <a:pt x="4575" y="25105"/>
                  </a:lnTo>
                  <a:lnTo>
                    <a:pt x="3717" y="24521"/>
                  </a:lnTo>
                  <a:lnTo>
                    <a:pt x="3431" y="23645"/>
                  </a:lnTo>
                  <a:lnTo>
                    <a:pt x="2287" y="16931"/>
                  </a:lnTo>
                  <a:lnTo>
                    <a:pt x="1143" y="9925"/>
                  </a:lnTo>
                  <a:lnTo>
                    <a:pt x="0" y="2919"/>
                  </a:lnTo>
                  <a:lnTo>
                    <a:pt x="0" y="2335"/>
                  </a:lnTo>
                  <a:lnTo>
                    <a:pt x="285" y="1167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7" name="Google Shape;1867;p13"/>
            <p:cNvSpPr/>
            <p:nvPr/>
          </p:nvSpPr>
          <p:spPr>
            <a:xfrm>
              <a:off x="668766" y="7357586"/>
              <a:ext cx="8452" cy="25397"/>
            </a:xfrm>
            <a:custGeom>
              <a:avLst/>
              <a:gdLst/>
              <a:ahLst/>
              <a:cxnLst/>
              <a:rect l="l" t="t" r="r" b="b"/>
              <a:pathLst>
                <a:path w="8452" h="25397" extrusionOk="0">
                  <a:moveTo>
                    <a:pt x="3924" y="0"/>
                  </a:moveTo>
                  <a:lnTo>
                    <a:pt x="7546" y="0"/>
                  </a:lnTo>
                  <a:lnTo>
                    <a:pt x="7848" y="3543"/>
                  </a:lnTo>
                  <a:lnTo>
                    <a:pt x="7848" y="9745"/>
                  </a:lnTo>
                  <a:lnTo>
                    <a:pt x="8150" y="15651"/>
                  </a:lnTo>
                  <a:lnTo>
                    <a:pt x="8452" y="21853"/>
                  </a:lnTo>
                  <a:lnTo>
                    <a:pt x="8452" y="24216"/>
                  </a:lnTo>
                  <a:lnTo>
                    <a:pt x="8150" y="25397"/>
                  </a:lnTo>
                  <a:lnTo>
                    <a:pt x="905" y="25397"/>
                  </a:lnTo>
                  <a:lnTo>
                    <a:pt x="603" y="22149"/>
                  </a:lnTo>
                  <a:lnTo>
                    <a:pt x="603" y="15947"/>
                  </a:lnTo>
                  <a:lnTo>
                    <a:pt x="301" y="9745"/>
                  </a:lnTo>
                  <a:lnTo>
                    <a:pt x="301" y="3543"/>
                  </a:lnTo>
                  <a:lnTo>
                    <a:pt x="0" y="295"/>
                  </a:lnTo>
                  <a:lnTo>
                    <a:pt x="603" y="0"/>
                  </a:lnTo>
                  <a:lnTo>
                    <a:pt x="3924" y="0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8" name="Google Shape;1868;p13"/>
            <p:cNvSpPr/>
            <p:nvPr/>
          </p:nvSpPr>
          <p:spPr>
            <a:xfrm>
              <a:off x="697739" y="7345484"/>
              <a:ext cx="7245" cy="7256"/>
            </a:xfrm>
            <a:custGeom>
              <a:avLst/>
              <a:gdLst/>
              <a:ahLst/>
              <a:cxnLst/>
              <a:rect l="l" t="t" r="r" b="b"/>
              <a:pathLst>
                <a:path w="7245" h="7256" extrusionOk="0">
                  <a:moveTo>
                    <a:pt x="2069" y="6977"/>
                  </a:moveTo>
                  <a:lnTo>
                    <a:pt x="0" y="6977"/>
                  </a:lnTo>
                  <a:lnTo>
                    <a:pt x="517" y="4465"/>
                  </a:lnTo>
                  <a:lnTo>
                    <a:pt x="517" y="0"/>
                  </a:lnTo>
                  <a:lnTo>
                    <a:pt x="3104" y="1116"/>
                  </a:lnTo>
                  <a:lnTo>
                    <a:pt x="4657" y="837"/>
                  </a:lnTo>
                  <a:lnTo>
                    <a:pt x="7245" y="279"/>
                  </a:lnTo>
                  <a:lnTo>
                    <a:pt x="6986" y="2790"/>
                  </a:lnTo>
                  <a:lnTo>
                    <a:pt x="7245" y="4465"/>
                  </a:lnTo>
                  <a:lnTo>
                    <a:pt x="7245" y="6140"/>
                  </a:lnTo>
                  <a:lnTo>
                    <a:pt x="5692" y="7256"/>
                  </a:lnTo>
                  <a:lnTo>
                    <a:pt x="2069" y="6977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9" name="Google Shape;1869;p13"/>
            <p:cNvSpPr/>
            <p:nvPr/>
          </p:nvSpPr>
          <p:spPr>
            <a:xfrm>
              <a:off x="668767" y="7349115"/>
              <a:ext cx="7244" cy="6047"/>
            </a:xfrm>
            <a:custGeom>
              <a:avLst/>
              <a:gdLst/>
              <a:ahLst/>
              <a:cxnLst/>
              <a:rect l="l" t="t" r="r" b="b"/>
              <a:pathLst>
                <a:path w="7244" h="6047" extrusionOk="0">
                  <a:moveTo>
                    <a:pt x="2897" y="5784"/>
                  </a:moveTo>
                  <a:lnTo>
                    <a:pt x="1159" y="6047"/>
                  </a:lnTo>
                  <a:lnTo>
                    <a:pt x="0" y="6047"/>
                  </a:lnTo>
                  <a:lnTo>
                    <a:pt x="0" y="788"/>
                  </a:lnTo>
                  <a:lnTo>
                    <a:pt x="289" y="525"/>
                  </a:lnTo>
                  <a:lnTo>
                    <a:pt x="4636" y="0"/>
                  </a:lnTo>
                  <a:lnTo>
                    <a:pt x="6665" y="0"/>
                  </a:lnTo>
                  <a:lnTo>
                    <a:pt x="7244" y="788"/>
                  </a:lnTo>
                  <a:lnTo>
                    <a:pt x="7244" y="5521"/>
                  </a:lnTo>
                  <a:lnTo>
                    <a:pt x="2897" y="578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0" name="Google Shape;1870;p13"/>
            <p:cNvSpPr/>
            <p:nvPr/>
          </p:nvSpPr>
          <p:spPr>
            <a:xfrm>
              <a:off x="654264" y="6868984"/>
              <a:ext cx="31395" cy="32653"/>
            </a:xfrm>
            <a:custGeom>
              <a:avLst/>
              <a:gdLst/>
              <a:ahLst/>
              <a:cxnLst/>
              <a:rect l="l" t="t" r="r" b="b"/>
              <a:pathLst>
                <a:path w="31395" h="32653" extrusionOk="0">
                  <a:moveTo>
                    <a:pt x="8064" y="844"/>
                  </a:moveTo>
                  <a:lnTo>
                    <a:pt x="8352" y="844"/>
                  </a:lnTo>
                  <a:lnTo>
                    <a:pt x="9793" y="5630"/>
                  </a:lnTo>
                  <a:lnTo>
                    <a:pt x="11521" y="11541"/>
                  </a:lnTo>
                  <a:lnTo>
                    <a:pt x="13537" y="17171"/>
                  </a:lnTo>
                  <a:lnTo>
                    <a:pt x="15265" y="23082"/>
                  </a:lnTo>
                  <a:lnTo>
                    <a:pt x="16129" y="23082"/>
                  </a:lnTo>
                  <a:lnTo>
                    <a:pt x="16993" y="20831"/>
                  </a:lnTo>
                  <a:lnTo>
                    <a:pt x="17569" y="18860"/>
                  </a:lnTo>
                  <a:lnTo>
                    <a:pt x="18434" y="16608"/>
                  </a:lnTo>
                  <a:lnTo>
                    <a:pt x="19874" y="12667"/>
                  </a:lnTo>
                  <a:lnTo>
                    <a:pt x="21026" y="8445"/>
                  </a:lnTo>
                  <a:lnTo>
                    <a:pt x="22466" y="4504"/>
                  </a:lnTo>
                  <a:lnTo>
                    <a:pt x="23618" y="1407"/>
                  </a:lnTo>
                  <a:lnTo>
                    <a:pt x="27363" y="0"/>
                  </a:lnTo>
                  <a:lnTo>
                    <a:pt x="30243" y="1970"/>
                  </a:lnTo>
                  <a:lnTo>
                    <a:pt x="31107" y="2252"/>
                  </a:lnTo>
                  <a:lnTo>
                    <a:pt x="31395" y="3659"/>
                  </a:lnTo>
                  <a:lnTo>
                    <a:pt x="31395" y="12949"/>
                  </a:lnTo>
                  <a:lnTo>
                    <a:pt x="31107" y="21112"/>
                  </a:lnTo>
                  <a:lnTo>
                    <a:pt x="31107" y="29557"/>
                  </a:lnTo>
                  <a:lnTo>
                    <a:pt x="30819" y="31246"/>
                  </a:lnTo>
                  <a:lnTo>
                    <a:pt x="30819" y="32653"/>
                  </a:lnTo>
                  <a:lnTo>
                    <a:pt x="25923" y="32653"/>
                  </a:lnTo>
                  <a:lnTo>
                    <a:pt x="25346" y="31528"/>
                  </a:lnTo>
                  <a:lnTo>
                    <a:pt x="25346" y="11541"/>
                  </a:lnTo>
                  <a:lnTo>
                    <a:pt x="23330" y="17452"/>
                  </a:lnTo>
                  <a:lnTo>
                    <a:pt x="21026" y="23364"/>
                  </a:lnTo>
                  <a:lnTo>
                    <a:pt x="19010" y="29275"/>
                  </a:lnTo>
                  <a:lnTo>
                    <a:pt x="18434" y="30964"/>
                  </a:lnTo>
                  <a:lnTo>
                    <a:pt x="17858" y="32653"/>
                  </a:lnTo>
                  <a:lnTo>
                    <a:pt x="12961" y="32653"/>
                  </a:lnTo>
                  <a:lnTo>
                    <a:pt x="12673" y="30964"/>
                  </a:lnTo>
                  <a:lnTo>
                    <a:pt x="12097" y="29275"/>
                  </a:lnTo>
                  <a:lnTo>
                    <a:pt x="10081" y="23646"/>
                  </a:lnTo>
                  <a:lnTo>
                    <a:pt x="8352" y="18015"/>
                  </a:lnTo>
                  <a:lnTo>
                    <a:pt x="5760" y="12386"/>
                  </a:lnTo>
                  <a:lnTo>
                    <a:pt x="5760" y="13230"/>
                  </a:lnTo>
                  <a:lnTo>
                    <a:pt x="5472" y="14074"/>
                  </a:lnTo>
                  <a:lnTo>
                    <a:pt x="5472" y="31246"/>
                  </a:lnTo>
                  <a:lnTo>
                    <a:pt x="4608" y="32090"/>
                  </a:lnTo>
                  <a:lnTo>
                    <a:pt x="576" y="32090"/>
                  </a:lnTo>
                  <a:lnTo>
                    <a:pt x="0" y="30964"/>
                  </a:lnTo>
                  <a:lnTo>
                    <a:pt x="0" y="29275"/>
                  </a:lnTo>
                  <a:lnTo>
                    <a:pt x="286" y="16473"/>
                  </a:lnTo>
                  <a:lnTo>
                    <a:pt x="568" y="3879"/>
                  </a:lnTo>
                  <a:lnTo>
                    <a:pt x="576" y="3659"/>
                  </a:lnTo>
                  <a:lnTo>
                    <a:pt x="576" y="1970"/>
                  </a:lnTo>
                  <a:lnTo>
                    <a:pt x="1152" y="1126"/>
                  </a:lnTo>
                  <a:lnTo>
                    <a:pt x="2880" y="1126"/>
                  </a:lnTo>
                  <a:lnTo>
                    <a:pt x="8064" y="84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1" name="Google Shape;1871;p13"/>
            <p:cNvSpPr/>
            <p:nvPr/>
          </p:nvSpPr>
          <p:spPr>
            <a:xfrm>
              <a:off x="795543" y="6924609"/>
              <a:ext cx="37433" cy="37490"/>
            </a:xfrm>
            <a:custGeom>
              <a:avLst/>
              <a:gdLst/>
              <a:ahLst/>
              <a:cxnLst/>
              <a:rect l="l" t="t" r="r" b="b"/>
              <a:pathLst>
                <a:path w="37433" h="37490" extrusionOk="0">
                  <a:moveTo>
                    <a:pt x="580" y="16856"/>
                  </a:moveTo>
                  <a:lnTo>
                    <a:pt x="2031" y="15403"/>
                  </a:lnTo>
                  <a:lnTo>
                    <a:pt x="5513" y="11043"/>
                  </a:lnTo>
                  <a:lnTo>
                    <a:pt x="8705" y="6393"/>
                  </a:lnTo>
                  <a:lnTo>
                    <a:pt x="12187" y="2325"/>
                  </a:lnTo>
                  <a:lnTo>
                    <a:pt x="13058" y="1453"/>
                  </a:lnTo>
                  <a:lnTo>
                    <a:pt x="14509" y="0"/>
                  </a:lnTo>
                  <a:lnTo>
                    <a:pt x="15089" y="290"/>
                  </a:lnTo>
                  <a:lnTo>
                    <a:pt x="16540" y="871"/>
                  </a:lnTo>
                  <a:lnTo>
                    <a:pt x="17410" y="2325"/>
                  </a:lnTo>
                  <a:lnTo>
                    <a:pt x="18571" y="3487"/>
                  </a:lnTo>
                  <a:lnTo>
                    <a:pt x="18281" y="3778"/>
                  </a:lnTo>
                  <a:lnTo>
                    <a:pt x="18281" y="4068"/>
                  </a:lnTo>
                  <a:lnTo>
                    <a:pt x="17991" y="4359"/>
                  </a:lnTo>
                  <a:lnTo>
                    <a:pt x="22634" y="4359"/>
                  </a:lnTo>
                  <a:lnTo>
                    <a:pt x="25535" y="6103"/>
                  </a:lnTo>
                  <a:lnTo>
                    <a:pt x="26696" y="10753"/>
                  </a:lnTo>
                  <a:lnTo>
                    <a:pt x="26986" y="11334"/>
                  </a:lnTo>
                  <a:lnTo>
                    <a:pt x="28437" y="12206"/>
                  </a:lnTo>
                  <a:lnTo>
                    <a:pt x="32500" y="12206"/>
                  </a:lnTo>
                  <a:lnTo>
                    <a:pt x="34821" y="13950"/>
                  </a:lnTo>
                  <a:lnTo>
                    <a:pt x="35982" y="16565"/>
                  </a:lnTo>
                  <a:lnTo>
                    <a:pt x="37433" y="19472"/>
                  </a:lnTo>
                  <a:lnTo>
                    <a:pt x="36562" y="22087"/>
                  </a:lnTo>
                  <a:lnTo>
                    <a:pt x="34821" y="24703"/>
                  </a:lnTo>
                  <a:lnTo>
                    <a:pt x="31919" y="28190"/>
                  </a:lnTo>
                  <a:lnTo>
                    <a:pt x="29018" y="31678"/>
                  </a:lnTo>
                  <a:lnTo>
                    <a:pt x="26406" y="35456"/>
                  </a:lnTo>
                  <a:lnTo>
                    <a:pt x="24955" y="37490"/>
                  </a:lnTo>
                  <a:lnTo>
                    <a:pt x="23794" y="36618"/>
                  </a:lnTo>
                  <a:lnTo>
                    <a:pt x="22343" y="35456"/>
                  </a:lnTo>
                  <a:lnTo>
                    <a:pt x="20602" y="34293"/>
                  </a:lnTo>
                  <a:lnTo>
                    <a:pt x="20893" y="33422"/>
                  </a:lnTo>
                  <a:lnTo>
                    <a:pt x="22053" y="31968"/>
                  </a:lnTo>
                  <a:lnTo>
                    <a:pt x="24665" y="28772"/>
                  </a:lnTo>
                  <a:lnTo>
                    <a:pt x="26986" y="25575"/>
                  </a:lnTo>
                  <a:lnTo>
                    <a:pt x="29598" y="22378"/>
                  </a:lnTo>
                  <a:lnTo>
                    <a:pt x="31049" y="20634"/>
                  </a:lnTo>
                  <a:lnTo>
                    <a:pt x="31919" y="18600"/>
                  </a:lnTo>
                  <a:lnTo>
                    <a:pt x="29598" y="16856"/>
                  </a:lnTo>
                  <a:lnTo>
                    <a:pt x="27857" y="15112"/>
                  </a:lnTo>
                  <a:lnTo>
                    <a:pt x="25826" y="15403"/>
                  </a:lnTo>
                  <a:lnTo>
                    <a:pt x="23794" y="17728"/>
                  </a:lnTo>
                  <a:lnTo>
                    <a:pt x="21183" y="20634"/>
                  </a:lnTo>
                  <a:lnTo>
                    <a:pt x="18571" y="23831"/>
                  </a:lnTo>
                  <a:lnTo>
                    <a:pt x="16250" y="27318"/>
                  </a:lnTo>
                  <a:lnTo>
                    <a:pt x="15089" y="29062"/>
                  </a:lnTo>
                  <a:lnTo>
                    <a:pt x="13928" y="29062"/>
                  </a:lnTo>
                  <a:lnTo>
                    <a:pt x="12477" y="27900"/>
                  </a:lnTo>
                  <a:lnTo>
                    <a:pt x="10736" y="26737"/>
                  </a:lnTo>
                  <a:lnTo>
                    <a:pt x="10446" y="25575"/>
                  </a:lnTo>
                  <a:lnTo>
                    <a:pt x="11897" y="23831"/>
                  </a:lnTo>
                  <a:lnTo>
                    <a:pt x="14218" y="20925"/>
                  </a:lnTo>
                  <a:lnTo>
                    <a:pt x="16830" y="17728"/>
                  </a:lnTo>
                  <a:lnTo>
                    <a:pt x="19151" y="14531"/>
                  </a:lnTo>
                  <a:lnTo>
                    <a:pt x="20312" y="12787"/>
                  </a:lnTo>
                  <a:lnTo>
                    <a:pt x="22053" y="11043"/>
                  </a:lnTo>
                  <a:lnTo>
                    <a:pt x="19732" y="9009"/>
                  </a:lnTo>
                  <a:lnTo>
                    <a:pt x="17991" y="7265"/>
                  </a:lnTo>
                  <a:lnTo>
                    <a:pt x="15089" y="7556"/>
                  </a:lnTo>
                  <a:lnTo>
                    <a:pt x="13348" y="9881"/>
                  </a:lnTo>
                  <a:lnTo>
                    <a:pt x="10736" y="12787"/>
                  </a:lnTo>
                  <a:lnTo>
                    <a:pt x="8415" y="15693"/>
                  </a:lnTo>
                  <a:lnTo>
                    <a:pt x="6383" y="18890"/>
                  </a:lnTo>
                  <a:lnTo>
                    <a:pt x="4933" y="20634"/>
                  </a:lnTo>
                  <a:lnTo>
                    <a:pt x="4062" y="21215"/>
                  </a:lnTo>
                  <a:lnTo>
                    <a:pt x="2031" y="19762"/>
                  </a:lnTo>
                  <a:lnTo>
                    <a:pt x="0" y="18018"/>
                  </a:lnTo>
                  <a:lnTo>
                    <a:pt x="580" y="16856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2" name="Google Shape;1872;p13"/>
            <p:cNvSpPr/>
            <p:nvPr/>
          </p:nvSpPr>
          <p:spPr>
            <a:xfrm>
              <a:off x="753280" y="6900421"/>
              <a:ext cx="28980" cy="35072"/>
            </a:xfrm>
            <a:custGeom>
              <a:avLst/>
              <a:gdLst/>
              <a:ahLst/>
              <a:cxnLst/>
              <a:rect l="l" t="t" r="r" b="b"/>
              <a:pathLst>
                <a:path w="28980" h="35072" extrusionOk="0">
                  <a:moveTo>
                    <a:pt x="568" y="22344"/>
                  </a:moveTo>
                  <a:lnTo>
                    <a:pt x="1136" y="21212"/>
                  </a:lnTo>
                  <a:lnTo>
                    <a:pt x="2272" y="22061"/>
                  </a:lnTo>
                  <a:lnTo>
                    <a:pt x="3977" y="22627"/>
                  </a:lnTo>
                  <a:lnTo>
                    <a:pt x="5114" y="23758"/>
                  </a:lnTo>
                  <a:lnTo>
                    <a:pt x="5682" y="24607"/>
                  </a:lnTo>
                  <a:lnTo>
                    <a:pt x="5966" y="26021"/>
                  </a:lnTo>
                  <a:lnTo>
                    <a:pt x="6818" y="26869"/>
                  </a:lnTo>
                  <a:lnTo>
                    <a:pt x="9944" y="29980"/>
                  </a:lnTo>
                  <a:lnTo>
                    <a:pt x="13637" y="28566"/>
                  </a:lnTo>
                  <a:lnTo>
                    <a:pt x="14490" y="24607"/>
                  </a:lnTo>
                  <a:lnTo>
                    <a:pt x="11933" y="23758"/>
                  </a:lnTo>
                  <a:lnTo>
                    <a:pt x="9091" y="23192"/>
                  </a:lnTo>
                  <a:lnTo>
                    <a:pt x="7103" y="21778"/>
                  </a:lnTo>
                  <a:lnTo>
                    <a:pt x="2557" y="18950"/>
                  </a:lnTo>
                  <a:lnTo>
                    <a:pt x="3125" y="12162"/>
                  </a:lnTo>
                  <a:lnTo>
                    <a:pt x="5682" y="7919"/>
                  </a:lnTo>
                  <a:lnTo>
                    <a:pt x="7387" y="5656"/>
                  </a:lnTo>
                  <a:lnTo>
                    <a:pt x="9660" y="3111"/>
                  </a:lnTo>
                  <a:lnTo>
                    <a:pt x="8807" y="11313"/>
                  </a:lnTo>
                  <a:lnTo>
                    <a:pt x="9091" y="15273"/>
                  </a:lnTo>
                  <a:lnTo>
                    <a:pt x="9091" y="17818"/>
                  </a:lnTo>
                  <a:lnTo>
                    <a:pt x="11080" y="19798"/>
                  </a:lnTo>
                  <a:lnTo>
                    <a:pt x="13922" y="19798"/>
                  </a:lnTo>
                  <a:lnTo>
                    <a:pt x="17047" y="19515"/>
                  </a:lnTo>
                  <a:lnTo>
                    <a:pt x="20741" y="14990"/>
                  </a:lnTo>
                  <a:lnTo>
                    <a:pt x="20456" y="11030"/>
                  </a:lnTo>
                  <a:lnTo>
                    <a:pt x="20456" y="8485"/>
                  </a:lnTo>
                  <a:lnTo>
                    <a:pt x="18468" y="6222"/>
                  </a:lnTo>
                  <a:lnTo>
                    <a:pt x="15910" y="6222"/>
                  </a:lnTo>
                  <a:lnTo>
                    <a:pt x="12785" y="5939"/>
                  </a:lnTo>
                  <a:lnTo>
                    <a:pt x="16479" y="0"/>
                  </a:lnTo>
                  <a:lnTo>
                    <a:pt x="19888" y="1414"/>
                  </a:lnTo>
                  <a:lnTo>
                    <a:pt x="23014" y="5939"/>
                  </a:lnTo>
                  <a:lnTo>
                    <a:pt x="24150" y="5939"/>
                  </a:lnTo>
                  <a:lnTo>
                    <a:pt x="25002" y="5656"/>
                  </a:lnTo>
                  <a:lnTo>
                    <a:pt x="26139" y="5939"/>
                  </a:lnTo>
                  <a:lnTo>
                    <a:pt x="28696" y="6788"/>
                  </a:lnTo>
                  <a:lnTo>
                    <a:pt x="28980" y="7353"/>
                  </a:lnTo>
                  <a:lnTo>
                    <a:pt x="27844" y="9899"/>
                  </a:lnTo>
                  <a:lnTo>
                    <a:pt x="25002" y="15556"/>
                  </a:lnTo>
                  <a:lnTo>
                    <a:pt x="22729" y="21212"/>
                  </a:lnTo>
                  <a:lnTo>
                    <a:pt x="19888" y="26869"/>
                  </a:lnTo>
                  <a:lnTo>
                    <a:pt x="16195" y="34223"/>
                  </a:lnTo>
                  <a:lnTo>
                    <a:pt x="6534" y="35072"/>
                  </a:lnTo>
                  <a:lnTo>
                    <a:pt x="1420" y="28283"/>
                  </a:lnTo>
                  <a:lnTo>
                    <a:pt x="852" y="27152"/>
                  </a:lnTo>
                  <a:lnTo>
                    <a:pt x="284" y="26021"/>
                  </a:lnTo>
                  <a:lnTo>
                    <a:pt x="0" y="24889"/>
                  </a:lnTo>
                  <a:lnTo>
                    <a:pt x="0" y="23758"/>
                  </a:lnTo>
                  <a:lnTo>
                    <a:pt x="568" y="2234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3" name="Google Shape;1873;p13"/>
            <p:cNvSpPr/>
            <p:nvPr/>
          </p:nvSpPr>
          <p:spPr>
            <a:xfrm>
              <a:off x="762088" y="6900421"/>
              <a:ext cx="7671" cy="11313"/>
            </a:xfrm>
            <a:custGeom>
              <a:avLst/>
              <a:gdLst/>
              <a:ahLst/>
              <a:cxnLst/>
              <a:rect l="l" t="t" r="r" b="b"/>
              <a:pathLst>
                <a:path w="7671" h="11313" extrusionOk="0">
                  <a:moveTo>
                    <a:pt x="3977" y="5939"/>
                  </a:moveTo>
                  <a:lnTo>
                    <a:pt x="0" y="11313"/>
                  </a:lnTo>
                  <a:lnTo>
                    <a:pt x="852" y="3111"/>
                  </a:lnTo>
                  <a:lnTo>
                    <a:pt x="3409" y="1979"/>
                  </a:lnTo>
                  <a:lnTo>
                    <a:pt x="7671" y="0"/>
                  </a:lnTo>
                  <a:lnTo>
                    <a:pt x="3977" y="5939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4" name="Google Shape;1874;p13"/>
            <p:cNvSpPr/>
            <p:nvPr/>
          </p:nvSpPr>
          <p:spPr>
            <a:xfrm>
              <a:off x="689284" y="6890508"/>
              <a:ext cx="8114" cy="14485"/>
            </a:xfrm>
            <a:custGeom>
              <a:avLst/>
              <a:gdLst/>
              <a:ahLst/>
              <a:cxnLst/>
              <a:rect l="l" t="t" r="r" b="b"/>
              <a:pathLst>
                <a:path w="8114" h="14485" extrusionOk="0">
                  <a:moveTo>
                    <a:pt x="2898" y="295"/>
                  </a:moveTo>
                  <a:lnTo>
                    <a:pt x="6375" y="0"/>
                  </a:lnTo>
                  <a:lnTo>
                    <a:pt x="8114" y="0"/>
                  </a:lnTo>
                  <a:lnTo>
                    <a:pt x="6375" y="5912"/>
                  </a:lnTo>
                  <a:lnTo>
                    <a:pt x="6085" y="6799"/>
                  </a:lnTo>
                  <a:lnTo>
                    <a:pt x="6085" y="7686"/>
                  </a:lnTo>
                  <a:lnTo>
                    <a:pt x="8114" y="14485"/>
                  </a:lnTo>
                  <a:lnTo>
                    <a:pt x="5796" y="13894"/>
                  </a:lnTo>
                  <a:lnTo>
                    <a:pt x="4057" y="13303"/>
                  </a:lnTo>
                  <a:lnTo>
                    <a:pt x="1159" y="12120"/>
                  </a:lnTo>
                  <a:lnTo>
                    <a:pt x="0" y="9164"/>
                  </a:lnTo>
                  <a:lnTo>
                    <a:pt x="289" y="5912"/>
                  </a:lnTo>
                  <a:lnTo>
                    <a:pt x="1159" y="2069"/>
                  </a:lnTo>
                  <a:lnTo>
                    <a:pt x="2898" y="29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5" name="Google Shape;1875;p13"/>
            <p:cNvSpPr/>
            <p:nvPr/>
          </p:nvSpPr>
          <p:spPr>
            <a:xfrm>
              <a:off x="691892" y="6879865"/>
              <a:ext cx="19127" cy="26606"/>
            </a:xfrm>
            <a:custGeom>
              <a:avLst/>
              <a:gdLst/>
              <a:ahLst/>
              <a:cxnLst/>
              <a:rect l="l" t="t" r="r" b="b"/>
              <a:pathLst>
                <a:path w="19127" h="26606" extrusionOk="0">
                  <a:moveTo>
                    <a:pt x="17967" y="14190"/>
                  </a:moveTo>
                  <a:lnTo>
                    <a:pt x="17678" y="16850"/>
                  </a:lnTo>
                  <a:lnTo>
                    <a:pt x="17388" y="18920"/>
                  </a:lnTo>
                  <a:lnTo>
                    <a:pt x="16808" y="20989"/>
                  </a:lnTo>
                  <a:lnTo>
                    <a:pt x="18547" y="22763"/>
                  </a:lnTo>
                  <a:lnTo>
                    <a:pt x="18837" y="23354"/>
                  </a:lnTo>
                  <a:lnTo>
                    <a:pt x="18547" y="25719"/>
                  </a:lnTo>
                  <a:lnTo>
                    <a:pt x="17967" y="25719"/>
                  </a:lnTo>
                  <a:lnTo>
                    <a:pt x="16808" y="26311"/>
                  </a:lnTo>
                  <a:lnTo>
                    <a:pt x="14780" y="26606"/>
                  </a:lnTo>
                  <a:lnTo>
                    <a:pt x="13910" y="26015"/>
                  </a:lnTo>
                  <a:lnTo>
                    <a:pt x="11881" y="23946"/>
                  </a:lnTo>
                  <a:lnTo>
                    <a:pt x="9853" y="24537"/>
                  </a:lnTo>
                  <a:lnTo>
                    <a:pt x="7534" y="24832"/>
                  </a:lnTo>
                  <a:lnTo>
                    <a:pt x="5506" y="25128"/>
                  </a:lnTo>
                  <a:lnTo>
                    <a:pt x="3477" y="18329"/>
                  </a:lnTo>
                  <a:lnTo>
                    <a:pt x="4926" y="19807"/>
                  </a:lnTo>
                  <a:lnTo>
                    <a:pt x="6085" y="20102"/>
                  </a:lnTo>
                  <a:lnTo>
                    <a:pt x="9563" y="21285"/>
                  </a:lnTo>
                  <a:lnTo>
                    <a:pt x="12171" y="18920"/>
                  </a:lnTo>
                  <a:lnTo>
                    <a:pt x="11881" y="14190"/>
                  </a:lnTo>
                  <a:lnTo>
                    <a:pt x="7824" y="14190"/>
                  </a:lnTo>
                  <a:lnTo>
                    <a:pt x="5796" y="14781"/>
                  </a:lnTo>
                  <a:lnTo>
                    <a:pt x="4926" y="14781"/>
                  </a:lnTo>
                  <a:lnTo>
                    <a:pt x="3767" y="16555"/>
                  </a:lnTo>
                  <a:lnTo>
                    <a:pt x="5506" y="10642"/>
                  </a:lnTo>
                  <a:lnTo>
                    <a:pt x="7245" y="10938"/>
                  </a:lnTo>
                  <a:lnTo>
                    <a:pt x="8983" y="10642"/>
                  </a:lnTo>
                  <a:lnTo>
                    <a:pt x="10432" y="10051"/>
                  </a:lnTo>
                  <a:lnTo>
                    <a:pt x="11881" y="9164"/>
                  </a:lnTo>
                  <a:lnTo>
                    <a:pt x="13330" y="8277"/>
                  </a:lnTo>
                  <a:lnTo>
                    <a:pt x="13041" y="7686"/>
                  </a:lnTo>
                  <a:lnTo>
                    <a:pt x="12751" y="5912"/>
                  </a:lnTo>
                  <a:lnTo>
                    <a:pt x="12171" y="5912"/>
                  </a:lnTo>
                  <a:lnTo>
                    <a:pt x="10432" y="5616"/>
                  </a:lnTo>
                  <a:lnTo>
                    <a:pt x="8114" y="5321"/>
                  </a:lnTo>
                  <a:lnTo>
                    <a:pt x="6665" y="6208"/>
                  </a:lnTo>
                  <a:lnTo>
                    <a:pt x="4926" y="7095"/>
                  </a:lnTo>
                  <a:lnTo>
                    <a:pt x="3767" y="7982"/>
                  </a:lnTo>
                  <a:lnTo>
                    <a:pt x="1738" y="7686"/>
                  </a:lnTo>
                  <a:lnTo>
                    <a:pt x="289" y="7095"/>
                  </a:lnTo>
                  <a:lnTo>
                    <a:pt x="0" y="6208"/>
                  </a:lnTo>
                  <a:lnTo>
                    <a:pt x="579" y="4730"/>
                  </a:lnTo>
                  <a:lnTo>
                    <a:pt x="1738" y="1773"/>
                  </a:lnTo>
                  <a:lnTo>
                    <a:pt x="4347" y="295"/>
                  </a:lnTo>
                  <a:lnTo>
                    <a:pt x="8983" y="0"/>
                  </a:lnTo>
                  <a:lnTo>
                    <a:pt x="10722" y="591"/>
                  </a:lnTo>
                  <a:lnTo>
                    <a:pt x="12461" y="591"/>
                  </a:lnTo>
                  <a:lnTo>
                    <a:pt x="14200" y="1478"/>
                  </a:lnTo>
                  <a:lnTo>
                    <a:pt x="17678" y="2660"/>
                  </a:lnTo>
                  <a:lnTo>
                    <a:pt x="19127" y="5321"/>
                  </a:lnTo>
                  <a:lnTo>
                    <a:pt x="18547" y="9164"/>
                  </a:lnTo>
                  <a:lnTo>
                    <a:pt x="18257" y="11825"/>
                  </a:lnTo>
                  <a:lnTo>
                    <a:pt x="17967" y="14190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6" name="Google Shape;1876;p13"/>
            <p:cNvSpPr/>
            <p:nvPr/>
          </p:nvSpPr>
          <p:spPr>
            <a:xfrm>
              <a:off x="738847" y="6900538"/>
              <a:ext cx="4600" cy="5721"/>
            </a:xfrm>
            <a:custGeom>
              <a:avLst/>
              <a:gdLst/>
              <a:ahLst/>
              <a:cxnLst/>
              <a:rect l="l" t="t" r="r" b="b"/>
              <a:pathLst>
                <a:path w="4600" h="5721" extrusionOk="0">
                  <a:moveTo>
                    <a:pt x="2012" y="5721"/>
                  </a:moveTo>
                  <a:lnTo>
                    <a:pt x="0" y="0"/>
                  </a:lnTo>
                  <a:lnTo>
                    <a:pt x="4600" y="858"/>
                  </a:lnTo>
                  <a:lnTo>
                    <a:pt x="3450" y="4863"/>
                  </a:lnTo>
                  <a:lnTo>
                    <a:pt x="2012" y="5721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7" name="Google Shape;1877;p13"/>
            <p:cNvSpPr/>
            <p:nvPr/>
          </p:nvSpPr>
          <p:spPr>
            <a:xfrm>
              <a:off x="733959" y="6891956"/>
              <a:ext cx="24150" cy="26606"/>
            </a:xfrm>
            <a:custGeom>
              <a:avLst/>
              <a:gdLst/>
              <a:ahLst/>
              <a:cxnLst/>
              <a:rect l="l" t="t" r="r" b="b"/>
              <a:pathLst>
                <a:path w="24150" h="26606" extrusionOk="0">
                  <a:moveTo>
                    <a:pt x="6037" y="3146"/>
                  </a:moveTo>
                  <a:lnTo>
                    <a:pt x="7475" y="572"/>
                  </a:lnTo>
                  <a:lnTo>
                    <a:pt x="10062" y="0"/>
                  </a:lnTo>
                  <a:lnTo>
                    <a:pt x="12937" y="0"/>
                  </a:lnTo>
                  <a:lnTo>
                    <a:pt x="14662" y="286"/>
                  </a:lnTo>
                  <a:lnTo>
                    <a:pt x="16675" y="572"/>
                  </a:lnTo>
                  <a:lnTo>
                    <a:pt x="18400" y="1430"/>
                  </a:lnTo>
                  <a:lnTo>
                    <a:pt x="23000" y="3433"/>
                  </a:lnTo>
                  <a:lnTo>
                    <a:pt x="24150" y="6580"/>
                  </a:lnTo>
                  <a:lnTo>
                    <a:pt x="22713" y="11157"/>
                  </a:lnTo>
                  <a:lnTo>
                    <a:pt x="21850" y="13732"/>
                  </a:lnTo>
                  <a:lnTo>
                    <a:pt x="20988" y="16021"/>
                  </a:lnTo>
                  <a:lnTo>
                    <a:pt x="20125" y="18595"/>
                  </a:lnTo>
                  <a:lnTo>
                    <a:pt x="19550" y="20026"/>
                  </a:lnTo>
                  <a:lnTo>
                    <a:pt x="18687" y="21742"/>
                  </a:lnTo>
                  <a:lnTo>
                    <a:pt x="20125" y="23173"/>
                  </a:lnTo>
                  <a:lnTo>
                    <a:pt x="20413" y="23745"/>
                  </a:lnTo>
                  <a:lnTo>
                    <a:pt x="20125" y="25462"/>
                  </a:lnTo>
                  <a:lnTo>
                    <a:pt x="19550" y="25748"/>
                  </a:lnTo>
                  <a:lnTo>
                    <a:pt x="18687" y="26320"/>
                  </a:lnTo>
                  <a:lnTo>
                    <a:pt x="16675" y="26606"/>
                  </a:lnTo>
                  <a:lnTo>
                    <a:pt x="16387" y="26320"/>
                  </a:lnTo>
                  <a:lnTo>
                    <a:pt x="13512" y="23173"/>
                  </a:lnTo>
                  <a:lnTo>
                    <a:pt x="9775" y="23745"/>
                  </a:lnTo>
                  <a:lnTo>
                    <a:pt x="6325" y="22887"/>
                  </a:lnTo>
                  <a:lnTo>
                    <a:pt x="2300" y="22028"/>
                  </a:lnTo>
                  <a:lnTo>
                    <a:pt x="0" y="18309"/>
                  </a:lnTo>
                  <a:lnTo>
                    <a:pt x="862" y="14590"/>
                  </a:lnTo>
                  <a:lnTo>
                    <a:pt x="2012" y="10299"/>
                  </a:lnTo>
                  <a:lnTo>
                    <a:pt x="4887" y="8582"/>
                  </a:lnTo>
                  <a:lnTo>
                    <a:pt x="6900" y="14304"/>
                  </a:lnTo>
                  <a:lnTo>
                    <a:pt x="6612" y="15162"/>
                  </a:lnTo>
                  <a:lnTo>
                    <a:pt x="6325" y="16021"/>
                  </a:lnTo>
                  <a:lnTo>
                    <a:pt x="7187" y="17737"/>
                  </a:lnTo>
                  <a:lnTo>
                    <a:pt x="8050" y="18309"/>
                  </a:lnTo>
                  <a:lnTo>
                    <a:pt x="11212" y="20598"/>
                  </a:lnTo>
                  <a:lnTo>
                    <a:pt x="14662" y="18881"/>
                  </a:lnTo>
                  <a:lnTo>
                    <a:pt x="15525" y="14304"/>
                  </a:lnTo>
                  <a:lnTo>
                    <a:pt x="13512" y="13732"/>
                  </a:lnTo>
                  <a:lnTo>
                    <a:pt x="11500" y="13160"/>
                  </a:lnTo>
                  <a:lnTo>
                    <a:pt x="9487" y="13446"/>
                  </a:lnTo>
                  <a:lnTo>
                    <a:pt x="8337" y="13446"/>
                  </a:lnTo>
                  <a:lnTo>
                    <a:pt x="9487" y="9440"/>
                  </a:lnTo>
                  <a:lnTo>
                    <a:pt x="11500" y="9727"/>
                  </a:lnTo>
                  <a:lnTo>
                    <a:pt x="13512" y="10013"/>
                  </a:lnTo>
                  <a:lnTo>
                    <a:pt x="15237" y="10299"/>
                  </a:lnTo>
                  <a:lnTo>
                    <a:pt x="16100" y="10299"/>
                  </a:lnTo>
                  <a:lnTo>
                    <a:pt x="17537" y="9440"/>
                  </a:lnTo>
                  <a:lnTo>
                    <a:pt x="17825" y="8868"/>
                  </a:lnTo>
                  <a:lnTo>
                    <a:pt x="18112" y="8010"/>
                  </a:lnTo>
                  <a:lnTo>
                    <a:pt x="17537" y="6580"/>
                  </a:lnTo>
                  <a:lnTo>
                    <a:pt x="16675" y="6007"/>
                  </a:lnTo>
                  <a:lnTo>
                    <a:pt x="14950" y="4577"/>
                  </a:lnTo>
                  <a:lnTo>
                    <a:pt x="12937" y="4005"/>
                  </a:lnTo>
                  <a:lnTo>
                    <a:pt x="10925" y="5721"/>
                  </a:lnTo>
                  <a:lnTo>
                    <a:pt x="9200" y="7438"/>
                  </a:lnTo>
                  <a:lnTo>
                    <a:pt x="7475" y="6293"/>
                  </a:lnTo>
                  <a:lnTo>
                    <a:pt x="6037" y="5435"/>
                  </a:lnTo>
                  <a:lnTo>
                    <a:pt x="5750" y="5149"/>
                  </a:lnTo>
                  <a:lnTo>
                    <a:pt x="5750" y="3719"/>
                  </a:lnTo>
                  <a:lnTo>
                    <a:pt x="6037" y="3146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8" name="Google Shape;1878;p13"/>
            <p:cNvSpPr/>
            <p:nvPr/>
          </p:nvSpPr>
          <p:spPr>
            <a:xfrm>
              <a:off x="777443" y="6913722"/>
              <a:ext cx="24149" cy="24187"/>
            </a:xfrm>
            <a:custGeom>
              <a:avLst/>
              <a:gdLst/>
              <a:ahLst/>
              <a:cxnLst/>
              <a:rect l="l" t="t" r="r" b="b"/>
              <a:pathLst>
                <a:path w="24149" h="24187" extrusionOk="0">
                  <a:moveTo>
                    <a:pt x="6773" y="10406"/>
                  </a:moveTo>
                  <a:lnTo>
                    <a:pt x="5890" y="10687"/>
                  </a:lnTo>
                  <a:lnTo>
                    <a:pt x="5595" y="13218"/>
                  </a:lnTo>
                  <a:lnTo>
                    <a:pt x="5301" y="16593"/>
                  </a:lnTo>
                  <a:lnTo>
                    <a:pt x="9129" y="19406"/>
                  </a:lnTo>
                  <a:lnTo>
                    <a:pt x="12369" y="18281"/>
                  </a:lnTo>
                  <a:lnTo>
                    <a:pt x="12958" y="18000"/>
                  </a:lnTo>
                  <a:lnTo>
                    <a:pt x="13547" y="17437"/>
                  </a:lnTo>
                  <a:lnTo>
                    <a:pt x="13841" y="17718"/>
                  </a:lnTo>
                  <a:lnTo>
                    <a:pt x="15314" y="18000"/>
                  </a:lnTo>
                  <a:lnTo>
                    <a:pt x="16786" y="18843"/>
                  </a:lnTo>
                  <a:lnTo>
                    <a:pt x="17964" y="19406"/>
                  </a:lnTo>
                  <a:lnTo>
                    <a:pt x="17375" y="20250"/>
                  </a:lnTo>
                  <a:lnTo>
                    <a:pt x="16786" y="21375"/>
                  </a:lnTo>
                  <a:lnTo>
                    <a:pt x="15608" y="21937"/>
                  </a:lnTo>
                  <a:lnTo>
                    <a:pt x="11780" y="24187"/>
                  </a:lnTo>
                  <a:lnTo>
                    <a:pt x="7951" y="23343"/>
                  </a:lnTo>
                  <a:lnTo>
                    <a:pt x="4417" y="20812"/>
                  </a:lnTo>
                  <a:lnTo>
                    <a:pt x="1178" y="18562"/>
                  </a:lnTo>
                  <a:lnTo>
                    <a:pt x="0" y="15187"/>
                  </a:lnTo>
                  <a:lnTo>
                    <a:pt x="588" y="11250"/>
                  </a:lnTo>
                  <a:lnTo>
                    <a:pt x="2061" y="4500"/>
                  </a:lnTo>
                  <a:lnTo>
                    <a:pt x="7068" y="0"/>
                  </a:lnTo>
                  <a:lnTo>
                    <a:pt x="13547" y="0"/>
                  </a:lnTo>
                  <a:lnTo>
                    <a:pt x="10896" y="4500"/>
                  </a:lnTo>
                  <a:lnTo>
                    <a:pt x="9129" y="7031"/>
                  </a:lnTo>
                  <a:lnTo>
                    <a:pt x="11780" y="8437"/>
                  </a:lnTo>
                  <a:lnTo>
                    <a:pt x="14430" y="9843"/>
                  </a:lnTo>
                  <a:lnTo>
                    <a:pt x="17375" y="11531"/>
                  </a:lnTo>
                  <a:lnTo>
                    <a:pt x="18848" y="8437"/>
                  </a:lnTo>
                  <a:lnTo>
                    <a:pt x="20615" y="1687"/>
                  </a:lnTo>
                  <a:lnTo>
                    <a:pt x="22382" y="5343"/>
                  </a:lnTo>
                  <a:lnTo>
                    <a:pt x="24149" y="9281"/>
                  </a:lnTo>
                  <a:lnTo>
                    <a:pt x="23560" y="13218"/>
                  </a:lnTo>
                  <a:lnTo>
                    <a:pt x="20909" y="16593"/>
                  </a:lnTo>
                  <a:lnTo>
                    <a:pt x="20615" y="17156"/>
                  </a:lnTo>
                  <a:lnTo>
                    <a:pt x="19142" y="17156"/>
                  </a:lnTo>
                  <a:lnTo>
                    <a:pt x="18553" y="16593"/>
                  </a:lnTo>
                  <a:lnTo>
                    <a:pt x="15314" y="15187"/>
                  </a:lnTo>
                  <a:lnTo>
                    <a:pt x="12074" y="13218"/>
                  </a:lnTo>
                  <a:lnTo>
                    <a:pt x="8835" y="11531"/>
                  </a:lnTo>
                  <a:lnTo>
                    <a:pt x="6773" y="10406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9" name="Google Shape;1879;p13"/>
            <p:cNvSpPr/>
            <p:nvPr/>
          </p:nvSpPr>
          <p:spPr>
            <a:xfrm>
              <a:off x="788340" y="6913722"/>
              <a:ext cx="9718" cy="8437"/>
            </a:xfrm>
            <a:custGeom>
              <a:avLst/>
              <a:gdLst/>
              <a:ahLst/>
              <a:cxnLst/>
              <a:rect l="l" t="t" r="r" b="b"/>
              <a:pathLst>
                <a:path w="9718" h="8437" extrusionOk="0">
                  <a:moveTo>
                    <a:pt x="2356" y="3656"/>
                  </a:moveTo>
                  <a:lnTo>
                    <a:pt x="0" y="4500"/>
                  </a:lnTo>
                  <a:lnTo>
                    <a:pt x="2650" y="0"/>
                  </a:lnTo>
                  <a:lnTo>
                    <a:pt x="6773" y="0"/>
                  </a:lnTo>
                  <a:lnTo>
                    <a:pt x="9718" y="1687"/>
                  </a:lnTo>
                  <a:lnTo>
                    <a:pt x="7951" y="8437"/>
                  </a:lnTo>
                  <a:lnTo>
                    <a:pt x="7068" y="6187"/>
                  </a:lnTo>
                  <a:lnTo>
                    <a:pt x="4712" y="4781"/>
                  </a:lnTo>
                  <a:lnTo>
                    <a:pt x="2356" y="3656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0" name="Google Shape;1880;p13"/>
            <p:cNvSpPr/>
            <p:nvPr/>
          </p:nvSpPr>
          <p:spPr>
            <a:xfrm>
              <a:off x="842427" y="6961902"/>
              <a:ext cx="2557" cy="10125"/>
            </a:xfrm>
            <a:custGeom>
              <a:avLst/>
              <a:gdLst/>
              <a:ahLst/>
              <a:cxnLst/>
              <a:rect l="l" t="t" r="r" b="b"/>
              <a:pathLst>
                <a:path w="2557" h="10125" extrusionOk="0">
                  <a:moveTo>
                    <a:pt x="1420" y="10125"/>
                  </a:moveTo>
                  <a:lnTo>
                    <a:pt x="0" y="2531"/>
                  </a:lnTo>
                  <a:lnTo>
                    <a:pt x="1704" y="0"/>
                  </a:lnTo>
                  <a:lnTo>
                    <a:pt x="2557" y="9843"/>
                  </a:lnTo>
                  <a:lnTo>
                    <a:pt x="1420" y="1012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1" name="Google Shape;1881;p13"/>
            <p:cNvSpPr/>
            <p:nvPr/>
          </p:nvSpPr>
          <p:spPr>
            <a:xfrm>
              <a:off x="824528" y="6951215"/>
              <a:ext cx="24150" cy="24187"/>
            </a:xfrm>
            <a:custGeom>
              <a:avLst/>
              <a:gdLst/>
              <a:ahLst/>
              <a:cxnLst/>
              <a:rect l="l" t="t" r="r" b="b"/>
              <a:pathLst>
                <a:path w="24150" h="24187" extrusionOk="0">
                  <a:moveTo>
                    <a:pt x="9660" y="18843"/>
                  </a:moveTo>
                  <a:lnTo>
                    <a:pt x="11080" y="18562"/>
                  </a:lnTo>
                  <a:lnTo>
                    <a:pt x="13921" y="18562"/>
                  </a:lnTo>
                  <a:lnTo>
                    <a:pt x="15058" y="19406"/>
                  </a:lnTo>
                  <a:lnTo>
                    <a:pt x="16478" y="21656"/>
                  </a:lnTo>
                  <a:lnTo>
                    <a:pt x="13353" y="24187"/>
                  </a:lnTo>
                  <a:lnTo>
                    <a:pt x="8807" y="24187"/>
                  </a:lnTo>
                  <a:lnTo>
                    <a:pt x="5682" y="21656"/>
                  </a:lnTo>
                  <a:lnTo>
                    <a:pt x="1420" y="18843"/>
                  </a:lnTo>
                  <a:lnTo>
                    <a:pt x="0" y="14062"/>
                  </a:lnTo>
                  <a:lnTo>
                    <a:pt x="1988" y="9562"/>
                  </a:lnTo>
                  <a:lnTo>
                    <a:pt x="3693" y="5343"/>
                  </a:lnTo>
                  <a:lnTo>
                    <a:pt x="6818" y="2531"/>
                  </a:lnTo>
                  <a:lnTo>
                    <a:pt x="11364" y="1125"/>
                  </a:lnTo>
                  <a:lnTo>
                    <a:pt x="15342" y="0"/>
                  </a:lnTo>
                  <a:lnTo>
                    <a:pt x="18751" y="843"/>
                  </a:lnTo>
                  <a:lnTo>
                    <a:pt x="21593" y="3656"/>
                  </a:lnTo>
                  <a:lnTo>
                    <a:pt x="24150" y="6187"/>
                  </a:lnTo>
                  <a:lnTo>
                    <a:pt x="24150" y="9562"/>
                  </a:lnTo>
                  <a:lnTo>
                    <a:pt x="23581" y="13218"/>
                  </a:lnTo>
                  <a:lnTo>
                    <a:pt x="23297" y="13781"/>
                  </a:lnTo>
                  <a:lnTo>
                    <a:pt x="23297" y="14343"/>
                  </a:lnTo>
                  <a:lnTo>
                    <a:pt x="23013" y="14625"/>
                  </a:lnTo>
                  <a:lnTo>
                    <a:pt x="20456" y="20531"/>
                  </a:lnTo>
                  <a:lnTo>
                    <a:pt x="19604" y="10687"/>
                  </a:lnTo>
                  <a:lnTo>
                    <a:pt x="19604" y="8718"/>
                  </a:lnTo>
                  <a:lnTo>
                    <a:pt x="17899" y="6750"/>
                  </a:lnTo>
                  <a:lnTo>
                    <a:pt x="15910" y="4781"/>
                  </a:lnTo>
                  <a:lnTo>
                    <a:pt x="13921" y="4781"/>
                  </a:lnTo>
                  <a:lnTo>
                    <a:pt x="11648" y="6468"/>
                  </a:lnTo>
                  <a:lnTo>
                    <a:pt x="13637" y="8718"/>
                  </a:lnTo>
                  <a:lnTo>
                    <a:pt x="15626" y="10968"/>
                  </a:lnTo>
                  <a:lnTo>
                    <a:pt x="17899" y="13218"/>
                  </a:lnTo>
                  <a:lnTo>
                    <a:pt x="19320" y="20812"/>
                  </a:lnTo>
                  <a:lnTo>
                    <a:pt x="14774" y="16312"/>
                  </a:lnTo>
                  <a:lnTo>
                    <a:pt x="13069" y="14625"/>
                  </a:lnTo>
                  <a:lnTo>
                    <a:pt x="11364" y="12937"/>
                  </a:lnTo>
                  <a:lnTo>
                    <a:pt x="9375" y="10968"/>
                  </a:lnTo>
                  <a:lnTo>
                    <a:pt x="8239" y="9843"/>
                  </a:lnTo>
                  <a:lnTo>
                    <a:pt x="7102" y="10125"/>
                  </a:lnTo>
                  <a:lnTo>
                    <a:pt x="6534" y="11531"/>
                  </a:lnTo>
                  <a:lnTo>
                    <a:pt x="6250" y="13218"/>
                  </a:lnTo>
                  <a:lnTo>
                    <a:pt x="5966" y="15187"/>
                  </a:lnTo>
                  <a:lnTo>
                    <a:pt x="6818" y="16031"/>
                  </a:lnTo>
                  <a:lnTo>
                    <a:pt x="7671" y="17437"/>
                  </a:lnTo>
                  <a:lnTo>
                    <a:pt x="9660" y="18843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2" name="Google Shape;1882;p13"/>
            <p:cNvSpPr/>
            <p:nvPr/>
          </p:nvSpPr>
          <p:spPr>
            <a:xfrm>
              <a:off x="839026" y="6966939"/>
              <a:ext cx="27771" cy="29025"/>
            </a:xfrm>
            <a:custGeom>
              <a:avLst/>
              <a:gdLst/>
              <a:ahLst/>
              <a:cxnLst/>
              <a:rect l="l" t="t" r="r" b="b"/>
              <a:pathLst>
                <a:path w="27771" h="29025" extrusionOk="0">
                  <a:moveTo>
                    <a:pt x="13456" y="20816"/>
                  </a:moveTo>
                  <a:lnTo>
                    <a:pt x="16892" y="17884"/>
                  </a:lnTo>
                  <a:lnTo>
                    <a:pt x="20041" y="14659"/>
                  </a:lnTo>
                  <a:lnTo>
                    <a:pt x="21186" y="13779"/>
                  </a:lnTo>
                  <a:lnTo>
                    <a:pt x="21473" y="11727"/>
                  </a:lnTo>
                  <a:lnTo>
                    <a:pt x="21186" y="10554"/>
                  </a:lnTo>
                  <a:lnTo>
                    <a:pt x="20327" y="8502"/>
                  </a:lnTo>
                  <a:lnTo>
                    <a:pt x="18609" y="7622"/>
                  </a:lnTo>
                  <a:lnTo>
                    <a:pt x="16319" y="8209"/>
                  </a:lnTo>
                  <a:lnTo>
                    <a:pt x="14887" y="8502"/>
                  </a:lnTo>
                  <a:lnTo>
                    <a:pt x="13742" y="9381"/>
                  </a:lnTo>
                  <a:lnTo>
                    <a:pt x="12597" y="10261"/>
                  </a:lnTo>
                  <a:lnTo>
                    <a:pt x="10020" y="12313"/>
                  </a:lnTo>
                  <a:lnTo>
                    <a:pt x="7443" y="14366"/>
                  </a:lnTo>
                  <a:lnTo>
                    <a:pt x="4867" y="16711"/>
                  </a:lnTo>
                  <a:lnTo>
                    <a:pt x="3149" y="18177"/>
                  </a:lnTo>
                  <a:lnTo>
                    <a:pt x="2290" y="17591"/>
                  </a:lnTo>
                  <a:lnTo>
                    <a:pt x="1145" y="16125"/>
                  </a:lnTo>
                  <a:lnTo>
                    <a:pt x="0" y="14366"/>
                  </a:lnTo>
                  <a:lnTo>
                    <a:pt x="0" y="13486"/>
                  </a:lnTo>
                  <a:lnTo>
                    <a:pt x="1717" y="12313"/>
                  </a:lnTo>
                  <a:lnTo>
                    <a:pt x="6012" y="8795"/>
                  </a:lnTo>
                  <a:lnTo>
                    <a:pt x="10307" y="4984"/>
                  </a:lnTo>
                  <a:lnTo>
                    <a:pt x="14887" y="1172"/>
                  </a:lnTo>
                  <a:lnTo>
                    <a:pt x="15746" y="586"/>
                  </a:lnTo>
                  <a:lnTo>
                    <a:pt x="17751" y="0"/>
                  </a:lnTo>
                  <a:lnTo>
                    <a:pt x="18323" y="293"/>
                  </a:lnTo>
                  <a:lnTo>
                    <a:pt x="19755" y="1172"/>
                  </a:lnTo>
                  <a:lnTo>
                    <a:pt x="21186" y="2638"/>
                  </a:lnTo>
                  <a:lnTo>
                    <a:pt x="19468" y="4984"/>
                  </a:lnTo>
                  <a:lnTo>
                    <a:pt x="23763" y="5277"/>
                  </a:lnTo>
                  <a:lnTo>
                    <a:pt x="25767" y="7622"/>
                  </a:lnTo>
                  <a:lnTo>
                    <a:pt x="26912" y="10847"/>
                  </a:lnTo>
                  <a:lnTo>
                    <a:pt x="27771" y="13486"/>
                  </a:lnTo>
                  <a:lnTo>
                    <a:pt x="27199" y="15831"/>
                  </a:lnTo>
                  <a:lnTo>
                    <a:pt x="25481" y="17297"/>
                  </a:lnTo>
                  <a:lnTo>
                    <a:pt x="21473" y="21109"/>
                  </a:lnTo>
                  <a:lnTo>
                    <a:pt x="17464" y="24334"/>
                  </a:lnTo>
                  <a:lnTo>
                    <a:pt x="13170" y="27852"/>
                  </a:lnTo>
                  <a:lnTo>
                    <a:pt x="11738" y="29025"/>
                  </a:lnTo>
                  <a:lnTo>
                    <a:pt x="10879" y="28438"/>
                  </a:lnTo>
                  <a:lnTo>
                    <a:pt x="9734" y="27266"/>
                  </a:lnTo>
                  <a:lnTo>
                    <a:pt x="8875" y="25800"/>
                  </a:lnTo>
                  <a:lnTo>
                    <a:pt x="8302" y="24920"/>
                  </a:lnTo>
                  <a:lnTo>
                    <a:pt x="10020" y="23747"/>
                  </a:lnTo>
                  <a:lnTo>
                    <a:pt x="13456" y="20816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3" name="Google Shape;1883;p13"/>
            <p:cNvSpPr/>
            <p:nvPr/>
          </p:nvSpPr>
          <p:spPr>
            <a:xfrm>
              <a:off x="712242" y="6884701"/>
              <a:ext cx="22941" cy="26606"/>
            </a:xfrm>
            <a:custGeom>
              <a:avLst/>
              <a:gdLst/>
              <a:ahLst/>
              <a:cxnLst/>
              <a:rect l="l" t="t" r="r" b="b"/>
              <a:pathLst>
                <a:path w="22941" h="26606" extrusionOk="0">
                  <a:moveTo>
                    <a:pt x="12179" y="1981"/>
                  </a:moveTo>
                  <a:lnTo>
                    <a:pt x="13595" y="1415"/>
                  </a:lnTo>
                  <a:lnTo>
                    <a:pt x="15294" y="1415"/>
                  </a:lnTo>
                  <a:lnTo>
                    <a:pt x="20109" y="1698"/>
                  </a:lnTo>
                  <a:lnTo>
                    <a:pt x="22941" y="4811"/>
                  </a:lnTo>
                  <a:lnTo>
                    <a:pt x="22092" y="9623"/>
                  </a:lnTo>
                  <a:lnTo>
                    <a:pt x="21525" y="14718"/>
                  </a:lnTo>
                  <a:lnTo>
                    <a:pt x="20109" y="19530"/>
                  </a:lnTo>
                  <a:lnTo>
                    <a:pt x="18693" y="24625"/>
                  </a:lnTo>
                  <a:lnTo>
                    <a:pt x="18410" y="26606"/>
                  </a:lnTo>
                  <a:lnTo>
                    <a:pt x="16993" y="26040"/>
                  </a:lnTo>
                  <a:lnTo>
                    <a:pt x="15861" y="25757"/>
                  </a:lnTo>
                  <a:lnTo>
                    <a:pt x="14444" y="25474"/>
                  </a:lnTo>
                  <a:lnTo>
                    <a:pt x="13311" y="24908"/>
                  </a:lnTo>
                  <a:lnTo>
                    <a:pt x="13878" y="23209"/>
                  </a:lnTo>
                  <a:lnTo>
                    <a:pt x="14444" y="19813"/>
                  </a:lnTo>
                  <a:lnTo>
                    <a:pt x="15294" y="16416"/>
                  </a:lnTo>
                  <a:lnTo>
                    <a:pt x="16144" y="13303"/>
                  </a:lnTo>
                  <a:lnTo>
                    <a:pt x="16427" y="11887"/>
                  </a:lnTo>
                  <a:lnTo>
                    <a:pt x="16993" y="10755"/>
                  </a:lnTo>
                  <a:lnTo>
                    <a:pt x="16710" y="9340"/>
                  </a:lnTo>
                  <a:lnTo>
                    <a:pt x="16427" y="8208"/>
                  </a:lnTo>
                  <a:lnTo>
                    <a:pt x="15577" y="6510"/>
                  </a:lnTo>
                  <a:lnTo>
                    <a:pt x="14728" y="6227"/>
                  </a:lnTo>
                  <a:lnTo>
                    <a:pt x="13595" y="5660"/>
                  </a:lnTo>
                  <a:lnTo>
                    <a:pt x="11895" y="5943"/>
                  </a:lnTo>
                  <a:lnTo>
                    <a:pt x="10762" y="6793"/>
                  </a:lnTo>
                  <a:lnTo>
                    <a:pt x="9629" y="7642"/>
                  </a:lnTo>
                  <a:lnTo>
                    <a:pt x="8780" y="9340"/>
                  </a:lnTo>
                  <a:lnTo>
                    <a:pt x="8213" y="10755"/>
                  </a:lnTo>
                  <a:lnTo>
                    <a:pt x="7364" y="13869"/>
                  </a:lnTo>
                  <a:lnTo>
                    <a:pt x="6514" y="17265"/>
                  </a:lnTo>
                  <a:lnTo>
                    <a:pt x="5947" y="20379"/>
                  </a:lnTo>
                  <a:lnTo>
                    <a:pt x="5381" y="22077"/>
                  </a:lnTo>
                  <a:lnTo>
                    <a:pt x="5098" y="23209"/>
                  </a:lnTo>
                  <a:lnTo>
                    <a:pt x="3115" y="22643"/>
                  </a:lnTo>
                  <a:lnTo>
                    <a:pt x="1132" y="22077"/>
                  </a:lnTo>
                  <a:lnTo>
                    <a:pt x="0" y="21228"/>
                  </a:lnTo>
                  <a:lnTo>
                    <a:pt x="566" y="19247"/>
                  </a:lnTo>
                  <a:lnTo>
                    <a:pt x="2265" y="13869"/>
                  </a:lnTo>
                  <a:lnTo>
                    <a:pt x="3398" y="8208"/>
                  </a:lnTo>
                  <a:lnTo>
                    <a:pt x="4814" y="2830"/>
                  </a:lnTo>
                  <a:lnTo>
                    <a:pt x="5098" y="1698"/>
                  </a:lnTo>
                  <a:lnTo>
                    <a:pt x="6231" y="0"/>
                  </a:lnTo>
                  <a:lnTo>
                    <a:pt x="6514" y="0"/>
                  </a:lnTo>
                  <a:lnTo>
                    <a:pt x="7930" y="283"/>
                  </a:lnTo>
                  <a:lnTo>
                    <a:pt x="9346" y="1132"/>
                  </a:lnTo>
                  <a:lnTo>
                    <a:pt x="10762" y="1698"/>
                  </a:lnTo>
                  <a:lnTo>
                    <a:pt x="10762" y="1981"/>
                  </a:lnTo>
                  <a:lnTo>
                    <a:pt x="10479" y="2264"/>
                  </a:lnTo>
                  <a:lnTo>
                    <a:pt x="12179" y="1981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4" name="Google Shape;1884;p13"/>
            <p:cNvSpPr/>
            <p:nvPr/>
          </p:nvSpPr>
          <p:spPr>
            <a:xfrm>
              <a:off x="853516" y="6981452"/>
              <a:ext cx="26564" cy="24187"/>
            </a:xfrm>
            <a:custGeom>
              <a:avLst/>
              <a:gdLst/>
              <a:ahLst/>
              <a:cxnLst/>
              <a:rect l="l" t="t" r="r" b="b"/>
              <a:pathLst>
                <a:path w="26564" h="24187" extrusionOk="0">
                  <a:moveTo>
                    <a:pt x="22890" y="0"/>
                  </a:moveTo>
                  <a:lnTo>
                    <a:pt x="24303" y="291"/>
                  </a:lnTo>
                  <a:lnTo>
                    <a:pt x="25433" y="2331"/>
                  </a:lnTo>
                  <a:lnTo>
                    <a:pt x="26564" y="4371"/>
                  </a:lnTo>
                  <a:lnTo>
                    <a:pt x="25716" y="4954"/>
                  </a:lnTo>
                  <a:lnTo>
                    <a:pt x="24303" y="5828"/>
                  </a:lnTo>
                  <a:lnTo>
                    <a:pt x="22607" y="6994"/>
                  </a:lnTo>
                  <a:lnTo>
                    <a:pt x="20912" y="8159"/>
                  </a:lnTo>
                  <a:lnTo>
                    <a:pt x="22607" y="10782"/>
                  </a:lnTo>
                  <a:lnTo>
                    <a:pt x="22890" y="11073"/>
                  </a:lnTo>
                  <a:lnTo>
                    <a:pt x="22042" y="12822"/>
                  </a:lnTo>
                  <a:lnTo>
                    <a:pt x="21194" y="13113"/>
                  </a:lnTo>
                  <a:lnTo>
                    <a:pt x="20912" y="13696"/>
                  </a:lnTo>
                  <a:lnTo>
                    <a:pt x="19499" y="13113"/>
                  </a:lnTo>
                  <a:lnTo>
                    <a:pt x="18934" y="12822"/>
                  </a:lnTo>
                  <a:lnTo>
                    <a:pt x="18368" y="12530"/>
                  </a:lnTo>
                  <a:lnTo>
                    <a:pt x="18086" y="11656"/>
                  </a:lnTo>
                  <a:lnTo>
                    <a:pt x="17521" y="11073"/>
                  </a:lnTo>
                  <a:lnTo>
                    <a:pt x="14129" y="13405"/>
                  </a:lnTo>
                  <a:lnTo>
                    <a:pt x="10738" y="15736"/>
                  </a:lnTo>
                  <a:lnTo>
                    <a:pt x="7630" y="18067"/>
                  </a:lnTo>
                  <a:lnTo>
                    <a:pt x="7064" y="18650"/>
                  </a:lnTo>
                  <a:lnTo>
                    <a:pt x="7064" y="20107"/>
                  </a:lnTo>
                  <a:lnTo>
                    <a:pt x="7347" y="20982"/>
                  </a:lnTo>
                  <a:lnTo>
                    <a:pt x="7912" y="22730"/>
                  </a:lnTo>
                  <a:lnTo>
                    <a:pt x="7347" y="23604"/>
                  </a:lnTo>
                  <a:lnTo>
                    <a:pt x="6217" y="24187"/>
                  </a:lnTo>
                  <a:lnTo>
                    <a:pt x="5369" y="24187"/>
                  </a:lnTo>
                  <a:lnTo>
                    <a:pt x="3956" y="23896"/>
                  </a:lnTo>
                  <a:lnTo>
                    <a:pt x="3108" y="23313"/>
                  </a:lnTo>
                  <a:lnTo>
                    <a:pt x="0" y="19816"/>
                  </a:lnTo>
                  <a:lnTo>
                    <a:pt x="282" y="16902"/>
                  </a:lnTo>
                  <a:lnTo>
                    <a:pt x="4238" y="13988"/>
                  </a:lnTo>
                  <a:lnTo>
                    <a:pt x="6782" y="11656"/>
                  </a:lnTo>
                  <a:lnTo>
                    <a:pt x="9608" y="9908"/>
                  </a:lnTo>
                  <a:lnTo>
                    <a:pt x="12434" y="7868"/>
                  </a:lnTo>
                  <a:lnTo>
                    <a:pt x="13564" y="6994"/>
                  </a:lnTo>
                  <a:lnTo>
                    <a:pt x="14412" y="6119"/>
                  </a:lnTo>
                  <a:lnTo>
                    <a:pt x="13564" y="4662"/>
                  </a:lnTo>
                  <a:lnTo>
                    <a:pt x="13282" y="4079"/>
                  </a:lnTo>
                  <a:lnTo>
                    <a:pt x="13564" y="2914"/>
                  </a:lnTo>
                  <a:lnTo>
                    <a:pt x="14129" y="2622"/>
                  </a:lnTo>
                  <a:lnTo>
                    <a:pt x="14695" y="2039"/>
                  </a:lnTo>
                  <a:lnTo>
                    <a:pt x="16390" y="1457"/>
                  </a:lnTo>
                  <a:lnTo>
                    <a:pt x="16390" y="1748"/>
                  </a:lnTo>
                  <a:lnTo>
                    <a:pt x="18368" y="4079"/>
                  </a:lnTo>
                  <a:lnTo>
                    <a:pt x="19781" y="2622"/>
                  </a:lnTo>
                  <a:lnTo>
                    <a:pt x="21194" y="1457"/>
                  </a:lnTo>
                  <a:lnTo>
                    <a:pt x="22890" y="0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5" name="Google Shape;1885;p13"/>
            <p:cNvSpPr/>
            <p:nvPr/>
          </p:nvSpPr>
          <p:spPr>
            <a:xfrm>
              <a:off x="865592" y="7004434"/>
              <a:ext cx="33808" cy="29025"/>
            </a:xfrm>
            <a:custGeom>
              <a:avLst/>
              <a:gdLst/>
              <a:ahLst/>
              <a:cxnLst/>
              <a:rect l="l" t="t" r="r" b="b"/>
              <a:pathLst>
                <a:path w="33808" h="29025" extrusionOk="0">
                  <a:moveTo>
                    <a:pt x="16622" y="0"/>
                  </a:moveTo>
                  <a:lnTo>
                    <a:pt x="26483" y="0"/>
                  </a:lnTo>
                  <a:lnTo>
                    <a:pt x="30146" y="2561"/>
                  </a:lnTo>
                  <a:lnTo>
                    <a:pt x="32118" y="7683"/>
                  </a:lnTo>
                  <a:lnTo>
                    <a:pt x="33808" y="11951"/>
                  </a:lnTo>
                  <a:lnTo>
                    <a:pt x="33245" y="16220"/>
                  </a:lnTo>
                  <a:lnTo>
                    <a:pt x="30146" y="19065"/>
                  </a:lnTo>
                  <a:lnTo>
                    <a:pt x="29301" y="19634"/>
                  </a:lnTo>
                  <a:lnTo>
                    <a:pt x="27328" y="20204"/>
                  </a:lnTo>
                  <a:lnTo>
                    <a:pt x="27047" y="19919"/>
                  </a:lnTo>
                  <a:lnTo>
                    <a:pt x="26201" y="18496"/>
                  </a:lnTo>
                  <a:lnTo>
                    <a:pt x="24511" y="17073"/>
                  </a:lnTo>
                  <a:lnTo>
                    <a:pt x="25920" y="15081"/>
                  </a:lnTo>
                  <a:lnTo>
                    <a:pt x="28174" y="11951"/>
                  </a:lnTo>
                  <a:lnTo>
                    <a:pt x="28174" y="9106"/>
                  </a:lnTo>
                  <a:lnTo>
                    <a:pt x="25356" y="6829"/>
                  </a:lnTo>
                  <a:lnTo>
                    <a:pt x="24511" y="5975"/>
                  </a:lnTo>
                  <a:lnTo>
                    <a:pt x="22539" y="5406"/>
                  </a:lnTo>
                  <a:lnTo>
                    <a:pt x="21694" y="5975"/>
                  </a:lnTo>
                  <a:lnTo>
                    <a:pt x="20567" y="6260"/>
                  </a:lnTo>
                  <a:lnTo>
                    <a:pt x="19721" y="7967"/>
                  </a:lnTo>
                  <a:lnTo>
                    <a:pt x="19721" y="9106"/>
                  </a:lnTo>
                  <a:lnTo>
                    <a:pt x="20003" y="11951"/>
                  </a:lnTo>
                  <a:lnTo>
                    <a:pt x="20567" y="14512"/>
                  </a:lnTo>
                  <a:lnTo>
                    <a:pt x="21130" y="17358"/>
                  </a:lnTo>
                  <a:lnTo>
                    <a:pt x="21975" y="23334"/>
                  </a:lnTo>
                  <a:lnTo>
                    <a:pt x="19440" y="27318"/>
                  </a:lnTo>
                  <a:lnTo>
                    <a:pt x="14087" y="28740"/>
                  </a:lnTo>
                  <a:lnTo>
                    <a:pt x="13241" y="28740"/>
                  </a:lnTo>
                  <a:lnTo>
                    <a:pt x="12678" y="29025"/>
                  </a:lnTo>
                  <a:lnTo>
                    <a:pt x="12114" y="28740"/>
                  </a:lnTo>
                  <a:lnTo>
                    <a:pt x="7888" y="28740"/>
                  </a:lnTo>
                  <a:lnTo>
                    <a:pt x="3662" y="25041"/>
                  </a:lnTo>
                  <a:lnTo>
                    <a:pt x="1690" y="19919"/>
                  </a:lnTo>
                  <a:lnTo>
                    <a:pt x="0" y="14797"/>
                  </a:lnTo>
                  <a:lnTo>
                    <a:pt x="845" y="10528"/>
                  </a:lnTo>
                  <a:lnTo>
                    <a:pt x="4226" y="7683"/>
                  </a:lnTo>
                  <a:lnTo>
                    <a:pt x="5071" y="6829"/>
                  </a:lnTo>
                  <a:lnTo>
                    <a:pt x="7043" y="6260"/>
                  </a:lnTo>
                  <a:lnTo>
                    <a:pt x="7606" y="6829"/>
                  </a:lnTo>
                  <a:lnTo>
                    <a:pt x="9579" y="8252"/>
                  </a:lnTo>
                  <a:lnTo>
                    <a:pt x="9579" y="10244"/>
                  </a:lnTo>
                  <a:lnTo>
                    <a:pt x="8170" y="11667"/>
                  </a:lnTo>
                  <a:lnTo>
                    <a:pt x="5353" y="14797"/>
                  </a:lnTo>
                  <a:lnTo>
                    <a:pt x="5634" y="19919"/>
                  </a:lnTo>
                  <a:lnTo>
                    <a:pt x="9297" y="22196"/>
                  </a:lnTo>
                  <a:lnTo>
                    <a:pt x="10424" y="22765"/>
                  </a:lnTo>
                  <a:lnTo>
                    <a:pt x="12678" y="23049"/>
                  </a:lnTo>
                  <a:lnTo>
                    <a:pt x="13805" y="22480"/>
                  </a:lnTo>
                  <a:lnTo>
                    <a:pt x="14932" y="21626"/>
                  </a:lnTo>
                  <a:lnTo>
                    <a:pt x="15495" y="19634"/>
                  </a:lnTo>
                  <a:lnTo>
                    <a:pt x="15495" y="15366"/>
                  </a:lnTo>
                  <a:lnTo>
                    <a:pt x="14368" y="12520"/>
                  </a:lnTo>
                  <a:lnTo>
                    <a:pt x="13805" y="9959"/>
                  </a:lnTo>
                  <a:lnTo>
                    <a:pt x="12960" y="4268"/>
                  </a:lnTo>
                  <a:lnTo>
                    <a:pt x="16622" y="0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6" name="Google Shape;1886;p13"/>
            <p:cNvSpPr/>
            <p:nvPr/>
          </p:nvSpPr>
          <p:spPr>
            <a:xfrm>
              <a:off x="893361" y="7110881"/>
              <a:ext cx="25356" cy="31445"/>
            </a:xfrm>
            <a:custGeom>
              <a:avLst/>
              <a:gdLst/>
              <a:ahLst/>
              <a:cxnLst/>
              <a:rect l="l" t="t" r="r" b="b"/>
              <a:pathLst>
                <a:path w="25356" h="31445" extrusionOk="0">
                  <a:moveTo>
                    <a:pt x="0" y="16013"/>
                  </a:moveTo>
                  <a:lnTo>
                    <a:pt x="0" y="13975"/>
                  </a:lnTo>
                  <a:lnTo>
                    <a:pt x="1165" y="13393"/>
                  </a:lnTo>
                  <a:lnTo>
                    <a:pt x="6995" y="13393"/>
                  </a:lnTo>
                  <a:lnTo>
                    <a:pt x="11366" y="13102"/>
                  </a:lnTo>
                  <a:lnTo>
                    <a:pt x="15447" y="12811"/>
                  </a:lnTo>
                  <a:lnTo>
                    <a:pt x="19236" y="12811"/>
                  </a:lnTo>
                  <a:lnTo>
                    <a:pt x="19527" y="10481"/>
                  </a:lnTo>
                  <a:lnTo>
                    <a:pt x="19819" y="8152"/>
                  </a:lnTo>
                  <a:lnTo>
                    <a:pt x="18653" y="6405"/>
                  </a:lnTo>
                  <a:lnTo>
                    <a:pt x="16613" y="6114"/>
                  </a:lnTo>
                  <a:lnTo>
                    <a:pt x="12532" y="5532"/>
                  </a:lnTo>
                  <a:lnTo>
                    <a:pt x="4080" y="5532"/>
                  </a:lnTo>
                  <a:lnTo>
                    <a:pt x="874" y="5823"/>
                  </a:lnTo>
                  <a:lnTo>
                    <a:pt x="0" y="5240"/>
                  </a:lnTo>
                  <a:lnTo>
                    <a:pt x="0" y="873"/>
                  </a:lnTo>
                  <a:lnTo>
                    <a:pt x="874" y="0"/>
                  </a:lnTo>
                  <a:lnTo>
                    <a:pt x="21859" y="0"/>
                  </a:lnTo>
                  <a:lnTo>
                    <a:pt x="23316" y="873"/>
                  </a:lnTo>
                  <a:lnTo>
                    <a:pt x="23316" y="1164"/>
                  </a:lnTo>
                  <a:lnTo>
                    <a:pt x="23608" y="2620"/>
                  </a:lnTo>
                  <a:lnTo>
                    <a:pt x="23025" y="4076"/>
                  </a:lnTo>
                  <a:lnTo>
                    <a:pt x="23025" y="5532"/>
                  </a:lnTo>
                  <a:lnTo>
                    <a:pt x="22733" y="5532"/>
                  </a:lnTo>
                  <a:lnTo>
                    <a:pt x="22442" y="5823"/>
                  </a:lnTo>
                  <a:lnTo>
                    <a:pt x="22150" y="5823"/>
                  </a:lnTo>
                  <a:lnTo>
                    <a:pt x="24774" y="9317"/>
                  </a:lnTo>
                  <a:lnTo>
                    <a:pt x="25356" y="13102"/>
                  </a:lnTo>
                  <a:lnTo>
                    <a:pt x="22442" y="16887"/>
                  </a:lnTo>
                  <a:lnTo>
                    <a:pt x="22150" y="17178"/>
                  </a:lnTo>
                  <a:lnTo>
                    <a:pt x="22442" y="18343"/>
                  </a:lnTo>
                  <a:lnTo>
                    <a:pt x="22733" y="18925"/>
                  </a:lnTo>
                  <a:lnTo>
                    <a:pt x="24774" y="21545"/>
                  </a:lnTo>
                  <a:lnTo>
                    <a:pt x="24482" y="24457"/>
                  </a:lnTo>
                  <a:lnTo>
                    <a:pt x="23899" y="27369"/>
                  </a:lnTo>
                  <a:lnTo>
                    <a:pt x="23025" y="30280"/>
                  </a:lnTo>
                  <a:lnTo>
                    <a:pt x="20693" y="31154"/>
                  </a:lnTo>
                  <a:lnTo>
                    <a:pt x="18361" y="31445"/>
                  </a:lnTo>
                  <a:lnTo>
                    <a:pt x="582" y="31445"/>
                  </a:lnTo>
                  <a:lnTo>
                    <a:pt x="291" y="29989"/>
                  </a:lnTo>
                  <a:lnTo>
                    <a:pt x="291" y="28242"/>
                  </a:lnTo>
                  <a:lnTo>
                    <a:pt x="0" y="26204"/>
                  </a:lnTo>
                  <a:lnTo>
                    <a:pt x="6995" y="26204"/>
                  </a:lnTo>
                  <a:lnTo>
                    <a:pt x="10783" y="26495"/>
                  </a:lnTo>
                  <a:lnTo>
                    <a:pt x="14572" y="26204"/>
                  </a:lnTo>
                  <a:lnTo>
                    <a:pt x="18070" y="26204"/>
                  </a:lnTo>
                  <a:lnTo>
                    <a:pt x="19527" y="25039"/>
                  </a:lnTo>
                  <a:lnTo>
                    <a:pt x="19527" y="20090"/>
                  </a:lnTo>
                  <a:lnTo>
                    <a:pt x="17779" y="18634"/>
                  </a:lnTo>
                  <a:lnTo>
                    <a:pt x="1165" y="18634"/>
                  </a:lnTo>
                  <a:lnTo>
                    <a:pt x="0" y="18051"/>
                  </a:lnTo>
                  <a:lnTo>
                    <a:pt x="0" y="16013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7" name="Google Shape;1887;p13"/>
            <p:cNvSpPr/>
            <p:nvPr/>
          </p:nvSpPr>
          <p:spPr>
            <a:xfrm>
              <a:off x="905496" y="7085719"/>
              <a:ext cx="10801" cy="20028"/>
            </a:xfrm>
            <a:custGeom>
              <a:avLst/>
              <a:gdLst/>
              <a:ahLst/>
              <a:cxnLst/>
              <a:rect l="l" t="t" r="r" b="b"/>
              <a:pathLst>
                <a:path w="10801" h="20028" extrusionOk="0">
                  <a:moveTo>
                    <a:pt x="8173" y="1741"/>
                  </a:moveTo>
                  <a:lnTo>
                    <a:pt x="10801" y="6095"/>
                  </a:lnTo>
                  <a:lnTo>
                    <a:pt x="9925" y="11320"/>
                  </a:lnTo>
                  <a:lnTo>
                    <a:pt x="9341" y="15674"/>
                  </a:lnTo>
                  <a:lnTo>
                    <a:pt x="4378" y="19737"/>
                  </a:lnTo>
                  <a:lnTo>
                    <a:pt x="0" y="20028"/>
                  </a:lnTo>
                  <a:lnTo>
                    <a:pt x="875" y="14222"/>
                  </a:lnTo>
                  <a:lnTo>
                    <a:pt x="3795" y="13352"/>
                  </a:lnTo>
                  <a:lnTo>
                    <a:pt x="5254" y="11900"/>
                  </a:lnTo>
                  <a:lnTo>
                    <a:pt x="5254" y="6966"/>
                  </a:lnTo>
                  <a:lnTo>
                    <a:pt x="3795" y="5514"/>
                  </a:lnTo>
                  <a:lnTo>
                    <a:pt x="1751" y="4934"/>
                  </a:lnTo>
                  <a:lnTo>
                    <a:pt x="3211" y="0"/>
                  </a:lnTo>
                  <a:lnTo>
                    <a:pt x="8173" y="1741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8" name="Google Shape;1888;p13"/>
            <p:cNvSpPr/>
            <p:nvPr/>
          </p:nvSpPr>
          <p:spPr>
            <a:xfrm>
              <a:off x="889732" y="7084268"/>
              <a:ext cx="18975" cy="21769"/>
            </a:xfrm>
            <a:custGeom>
              <a:avLst/>
              <a:gdLst/>
              <a:ahLst/>
              <a:cxnLst/>
              <a:rect l="l" t="t" r="r" b="b"/>
              <a:pathLst>
                <a:path w="18975" h="21769" extrusionOk="0">
                  <a:moveTo>
                    <a:pt x="5546" y="13352"/>
                  </a:moveTo>
                  <a:lnTo>
                    <a:pt x="6422" y="15383"/>
                  </a:lnTo>
                  <a:lnTo>
                    <a:pt x="8757" y="16544"/>
                  </a:lnTo>
                  <a:lnTo>
                    <a:pt x="11093" y="17705"/>
                  </a:lnTo>
                  <a:lnTo>
                    <a:pt x="10509" y="19737"/>
                  </a:lnTo>
                  <a:lnTo>
                    <a:pt x="10801" y="21479"/>
                  </a:lnTo>
                  <a:lnTo>
                    <a:pt x="6422" y="21769"/>
                  </a:lnTo>
                  <a:lnTo>
                    <a:pt x="3211" y="19447"/>
                  </a:lnTo>
                  <a:lnTo>
                    <a:pt x="1751" y="15093"/>
                  </a:lnTo>
                  <a:lnTo>
                    <a:pt x="0" y="10739"/>
                  </a:lnTo>
                  <a:lnTo>
                    <a:pt x="1459" y="6095"/>
                  </a:lnTo>
                  <a:lnTo>
                    <a:pt x="4962" y="3483"/>
                  </a:lnTo>
                  <a:lnTo>
                    <a:pt x="9341" y="580"/>
                  </a:lnTo>
                  <a:lnTo>
                    <a:pt x="14012" y="0"/>
                  </a:lnTo>
                  <a:lnTo>
                    <a:pt x="18975" y="1451"/>
                  </a:lnTo>
                  <a:lnTo>
                    <a:pt x="17515" y="6385"/>
                  </a:lnTo>
                  <a:lnTo>
                    <a:pt x="15764" y="5805"/>
                  </a:lnTo>
                  <a:lnTo>
                    <a:pt x="15180" y="6385"/>
                  </a:lnTo>
                  <a:lnTo>
                    <a:pt x="15180" y="8127"/>
                  </a:lnTo>
                  <a:lnTo>
                    <a:pt x="15764" y="10449"/>
                  </a:lnTo>
                  <a:lnTo>
                    <a:pt x="16056" y="12771"/>
                  </a:lnTo>
                  <a:lnTo>
                    <a:pt x="16639" y="15674"/>
                  </a:lnTo>
                  <a:lnTo>
                    <a:pt x="15764" y="21479"/>
                  </a:lnTo>
                  <a:lnTo>
                    <a:pt x="13720" y="21769"/>
                  </a:lnTo>
                  <a:lnTo>
                    <a:pt x="13136" y="20608"/>
                  </a:lnTo>
                  <a:lnTo>
                    <a:pt x="12844" y="18576"/>
                  </a:lnTo>
                  <a:lnTo>
                    <a:pt x="12260" y="14803"/>
                  </a:lnTo>
                  <a:lnTo>
                    <a:pt x="11677" y="10739"/>
                  </a:lnTo>
                  <a:lnTo>
                    <a:pt x="11093" y="6676"/>
                  </a:lnTo>
                  <a:lnTo>
                    <a:pt x="7882" y="7256"/>
                  </a:lnTo>
                  <a:lnTo>
                    <a:pt x="6130" y="8707"/>
                  </a:lnTo>
                  <a:lnTo>
                    <a:pt x="5838" y="11029"/>
                  </a:lnTo>
                  <a:lnTo>
                    <a:pt x="5546" y="13352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9" name="Google Shape;1889;p13"/>
            <p:cNvSpPr/>
            <p:nvPr/>
          </p:nvSpPr>
          <p:spPr>
            <a:xfrm>
              <a:off x="866788" y="7028626"/>
              <a:ext cx="36225" cy="20559"/>
            </a:xfrm>
            <a:custGeom>
              <a:avLst/>
              <a:gdLst/>
              <a:ahLst/>
              <a:cxnLst/>
              <a:rect l="l" t="t" r="r" b="b"/>
              <a:pathLst>
                <a:path w="36225" h="20559" extrusionOk="0">
                  <a:moveTo>
                    <a:pt x="570" y="15772"/>
                  </a:moveTo>
                  <a:lnTo>
                    <a:pt x="0" y="14363"/>
                  </a:lnTo>
                  <a:lnTo>
                    <a:pt x="0" y="13237"/>
                  </a:lnTo>
                  <a:lnTo>
                    <a:pt x="1711" y="12392"/>
                  </a:lnTo>
                  <a:lnTo>
                    <a:pt x="3422" y="11547"/>
                  </a:lnTo>
                  <a:lnTo>
                    <a:pt x="4278" y="11828"/>
                  </a:lnTo>
                  <a:lnTo>
                    <a:pt x="5134" y="13518"/>
                  </a:lnTo>
                  <a:lnTo>
                    <a:pt x="6275" y="16053"/>
                  </a:lnTo>
                  <a:lnTo>
                    <a:pt x="9127" y="16053"/>
                  </a:lnTo>
                  <a:lnTo>
                    <a:pt x="11694" y="14082"/>
                  </a:lnTo>
                  <a:lnTo>
                    <a:pt x="16544" y="9857"/>
                  </a:lnTo>
                  <a:lnTo>
                    <a:pt x="21393" y="5632"/>
                  </a:lnTo>
                  <a:lnTo>
                    <a:pt x="26242" y="1126"/>
                  </a:lnTo>
                  <a:lnTo>
                    <a:pt x="26812" y="844"/>
                  </a:lnTo>
                  <a:lnTo>
                    <a:pt x="27383" y="281"/>
                  </a:lnTo>
                  <a:lnTo>
                    <a:pt x="27953" y="0"/>
                  </a:lnTo>
                  <a:lnTo>
                    <a:pt x="30806" y="3379"/>
                  </a:lnTo>
                  <a:lnTo>
                    <a:pt x="30806" y="4787"/>
                  </a:lnTo>
                  <a:lnTo>
                    <a:pt x="27668" y="7322"/>
                  </a:lnTo>
                  <a:lnTo>
                    <a:pt x="24530" y="9575"/>
                  </a:lnTo>
                  <a:lnTo>
                    <a:pt x="21678" y="12110"/>
                  </a:lnTo>
                  <a:lnTo>
                    <a:pt x="18825" y="14645"/>
                  </a:lnTo>
                  <a:lnTo>
                    <a:pt x="18825" y="15208"/>
                  </a:lnTo>
                  <a:lnTo>
                    <a:pt x="19111" y="15490"/>
                  </a:lnTo>
                  <a:lnTo>
                    <a:pt x="22534" y="15208"/>
                  </a:lnTo>
                  <a:lnTo>
                    <a:pt x="26242" y="14927"/>
                  </a:lnTo>
                  <a:lnTo>
                    <a:pt x="29665" y="14363"/>
                  </a:lnTo>
                  <a:lnTo>
                    <a:pt x="33943" y="14082"/>
                  </a:lnTo>
                  <a:lnTo>
                    <a:pt x="34799" y="14645"/>
                  </a:lnTo>
                  <a:lnTo>
                    <a:pt x="35655" y="17180"/>
                  </a:lnTo>
                  <a:lnTo>
                    <a:pt x="36225" y="18588"/>
                  </a:lnTo>
                  <a:lnTo>
                    <a:pt x="35940" y="19151"/>
                  </a:lnTo>
                  <a:lnTo>
                    <a:pt x="34229" y="19151"/>
                  </a:lnTo>
                  <a:lnTo>
                    <a:pt x="21545" y="19776"/>
                  </a:lnTo>
                  <a:lnTo>
                    <a:pt x="8831" y="20208"/>
                  </a:lnTo>
                  <a:lnTo>
                    <a:pt x="6560" y="20278"/>
                  </a:lnTo>
                  <a:lnTo>
                    <a:pt x="3422" y="20559"/>
                  </a:lnTo>
                  <a:lnTo>
                    <a:pt x="1711" y="18870"/>
                  </a:lnTo>
                  <a:lnTo>
                    <a:pt x="570" y="15772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0" name="Google Shape;1890;p13"/>
            <p:cNvSpPr/>
            <p:nvPr/>
          </p:nvSpPr>
          <p:spPr>
            <a:xfrm>
              <a:off x="881282" y="7050398"/>
              <a:ext cx="27772" cy="24188"/>
            </a:xfrm>
            <a:custGeom>
              <a:avLst/>
              <a:gdLst/>
              <a:ahLst/>
              <a:cxnLst/>
              <a:rect l="l" t="t" r="r" b="b"/>
              <a:pathLst>
                <a:path w="27772" h="24188" extrusionOk="0">
                  <a:moveTo>
                    <a:pt x="24909" y="15651"/>
                  </a:moveTo>
                  <a:lnTo>
                    <a:pt x="24050" y="16789"/>
                  </a:lnTo>
                  <a:lnTo>
                    <a:pt x="22332" y="17358"/>
                  </a:lnTo>
                  <a:lnTo>
                    <a:pt x="21187" y="18212"/>
                  </a:lnTo>
                  <a:lnTo>
                    <a:pt x="20328" y="16504"/>
                  </a:lnTo>
                  <a:lnTo>
                    <a:pt x="19183" y="14797"/>
                  </a:lnTo>
                  <a:lnTo>
                    <a:pt x="20614" y="12805"/>
                  </a:lnTo>
                  <a:lnTo>
                    <a:pt x="20900" y="12236"/>
                  </a:lnTo>
                  <a:lnTo>
                    <a:pt x="21473" y="10813"/>
                  </a:lnTo>
                  <a:lnTo>
                    <a:pt x="21187" y="10244"/>
                  </a:lnTo>
                  <a:lnTo>
                    <a:pt x="20614" y="8821"/>
                  </a:lnTo>
                  <a:lnTo>
                    <a:pt x="19469" y="7967"/>
                  </a:lnTo>
                  <a:lnTo>
                    <a:pt x="18610" y="6829"/>
                  </a:lnTo>
                  <a:lnTo>
                    <a:pt x="18037" y="7967"/>
                  </a:lnTo>
                  <a:lnTo>
                    <a:pt x="17178" y="9106"/>
                  </a:lnTo>
                  <a:lnTo>
                    <a:pt x="16892" y="10244"/>
                  </a:lnTo>
                  <a:lnTo>
                    <a:pt x="16606" y="11382"/>
                  </a:lnTo>
                  <a:lnTo>
                    <a:pt x="16892" y="12521"/>
                  </a:lnTo>
                  <a:lnTo>
                    <a:pt x="16892" y="21342"/>
                  </a:lnTo>
                  <a:lnTo>
                    <a:pt x="11738" y="24188"/>
                  </a:lnTo>
                  <a:lnTo>
                    <a:pt x="6871" y="21627"/>
                  </a:lnTo>
                  <a:lnTo>
                    <a:pt x="1431" y="18781"/>
                  </a:lnTo>
                  <a:lnTo>
                    <a:pt x="0" y="9106"/>
                  </a:lnTo>
                  <a:lnTo>
                    <a:pt x="4581" y="5406"/>
                  </a:lnTo>
                  <a:lnTo>
                    <a:pt x="5439" y="4837"/>
                  </a:lnTo>
                  <a:lnTo>
                    <a:pt x="7444" y="4268"/>
                  </a:lnTo>
                  <a:lnTo>
                    <a:pt x="7730" y="4553"/>
                  </a:lnTo>
                  <a:lnTo>
                    <a:pt x="8589" y="5975"/>
                  </a:lnTo>
                  <a:lnTo>
                    <a:pt x="9734" y="7398"/>
                  </a:lnTo>
                  <a:lnTo>
                    <a:pt x="8016" y="9390"/>
                  </a:lnTo>
                  <a:lnTo>
                    <a:pt x="6012" y="11667"/>
                  </a:lnTo>
                  <a:lnTo>
                    <a:pt x="6012" y="13659"/>
                  </a:lnTo>
                  <a:lnTo>
                    <a:pt x="8016" y="16220"/>
                  </a:lnTo>
                  <a:lnTo>
                    <a:pt x="9162" y="17927"/>
                  </a:lnTo>
                  <a:lnTo>
                    <a:pt x="10879" y="17643"/>
                  </a:lnTo>
                  <a:lnTo>
                    <a:pt x="11738" y="15651"/>
                  </a:lnTo>
                  <a:lnTo>
                    <a:pt x="12025" y="14797"/>
                  </a:lnTo>
                  <a:lnTo>
                    <a:pt x="12025" y="9959"/>
                  </a:lnTo>
                  <a:lnTo>
                    <a:pt x="11738" y="7967"/>
                  </a:lnTo>
                  <a:lnTo>
                    <a:pt x="12311" y="5691"/>
                  </a:lnTo>
                  <a:lnTo>
                    <a:pt x="13170" y="1707"/>
                  </a:lnTo>
                  <a:lnTo>
                    <a:pt x="17751" y="0"/>
                  </a:lnTo>
                  <a:lnTo>
                    <a:pt x="21473" y="1991"/>
                  </a:lnTo>
                  <a:lnTo>
                    <a:pt x="25481" y="4268"/>
                  </a:lnTo>
                  <a:lnTo>
                    <a:pt x="27772" y="11951"/>
                  </a:lnTo>
                  <a:lnTo>
                    <a:pt x="24909" y="15651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1" name="Google Shape;1891;p13"/>
            <p:cNvSpPr/>
            <p:nvPr/>
          </p:nvSpPr>
          <p:spPr>
            <a:xfrm>
              <a:off x="888533" y="7069751"/>
              <a:ext cx="30186" cy="16931"/>
            </a:xfrm>
            <a:custGeom>
              <a:avLst/>
              <a:gdLst/>
              <a:ahLst/>
              <a:cxnLst/>
              <a:rect l="l" t="t" r="r" b="b"/>
              <a:pathLst>
                <a:path w="30186" h="16931" extrusionOk="0">
                  <a:moveTo>
                    <a:pt x="17705" y="9470"/>
                  </a:moveTo>
                  <a:lnTo>
                    <a:pt x="15964" y="10044"/>
                  </a:lnTo>
                  <a:lnTo>
                    <a:pt x="13351" y="10618"/>
                  </a:lnTo>
                  <a:lnTo>
                    <a:pt x="10158" y="11192"/>
                  </a:lnTo>
                  <a:lnTo>
                    <a:pt x="7546" y="12053"/>
                  </a:lnTo>
                  <a:lnTo>
                    <a:pt x="6675" y="12340"/>
                  </a:lnTo>
                  <a:lnTo>
                    <a:pt x="5514" y="13775"/>
                  </a:lnTo>
                  <a:lnTo>
                    <a:pt x="5514" y="14636"/>
                  </a:lnTo>
                  <a:lnTo>
                    <a:pt x="5224" y="16070"/>
                  </a:lnTo>
                  <a:lnTo>
                    <a:pt x="4644" y="16931"/>
                  </a:lnTo>
                  <a:lnTo>
                    <a:pt x="2612" y="16931"/>
                  </a:lnTo>
                  <a:lnTo>
                    <a:pt x="1451" y="16070"/>
                  </a:lnTo>
                  <a:lnTo>
                    <a:pt x="870" y="15209"/>
                  </a:lnTo>
                  <a:lnTo>
                    <a:pt x="290" y="14636"/>
                  </a:lnTo>
                  <a:lnTo>
                    <a:pt x="290" y="13201"/>
                  </a:lnTo>
                  <a:lnTo>
                    <a:pt x="0" y="12627"/>
                  </a:lnTo>
                  <a:lnTo>
                    <a:pt x="290" y="9757"/>
                  </a:lnTo>
                  <a:lnTo>
                    <a:pt x="870" y="8035"/>
                  </a:lnTo>
                  <a:lnTo>
                    <a:pt x="3483" y="7461"/>
                  </a:lnTo>
                  <a:lnTo>
                    <a:pt x="7256" y="6600"/>
                  </a:lnTo>
                  <a:lnTo>
                    <a:pt x="11319" y="5452"/>
                  </a:lnTo>
                  <a:lnTo>
                    <a:pt x="15093" y="4591"/>
                  </a:lnTo>
                  <a:lnTo>
                    <a:pt x="16544" y="4304"/>
                  </a:lnTo>
                  <a:lnTo>
                    <a:pt x="17705" y="4017"/>
                  </a:lnTo>
                  <a:lnTo>
                    <a:pt x="17415" y="2008"/>
                  </a:lnTo>
                  <a:lnTo>
                    <a:pt x="17415" y="1434"/>
                  </a:lnTo>
                  <a:lnTo>
                    <a:pt x="18576" y="573"/>
                  </a:lnTo>
                  <a:lnTo>
                    <a:pt x="19156" y="286"/>
                  </a:lnTo>
                  <a:lnTo>
                    <a:pt x="19737" y="0"/>
                  </a:lnTo>
                  <a:lnTo>
                    <a:pt x="21188" y="573"/>
                  </a:lnTo>
                  <a:lnTo>
                    <a:pt x="21478" y="1147"/>
                  </a:lnTo>
                  <a:lnTo>
                    <a:pt x="22349" y="3443"/>
                  </a:lnTo>
                  <a:lnTo>
                    <a:pt x="24091" y="2869"/>
                  </a:lnTo>
                  <a:lnTo>
                    <a:pt x="25542" y="2295"/>
                  </a:lnTo>
                  <a:lnTo>
                    <a:pt x="27574" y="1721"/>
                  </a:lnTo>
                  <a:lnTo>
                    <a:pt x="29025" y="1721"/>
                  </a:lnTo>
                  <a:lnTo>
                    <a:pt x="29605" y="4304"/>
                  </a:lnTo>
                  <a:lnTo>
                    <a:pt x="30186" y="6600"/>
                  </a:lnTo>
                  <a:lnTo>
                    <a:pt x="28735" y="7174"/>
                  </a:lnTo>
                  <a:lnTo>
                    <a:pt x="26703" y="7461"/>
                  </a:lnTo>
                  <a:lnTo>
                    <a:pt x="24671" y="7748"/>
                  </a:lnTo>
                  <a:lnTo>
                    <a:pt x="23220" y="8322"/>
                  </a:lnTo>
                  <a:lnTo>
                    <a:pt x="23800" y="10905"/>
                  </a:lnTo>
                  <a:lnTo>
                    <a:pt x="23800" y="11479"/>
                  </a:lnTo>
                  <a:lnTo>
                    <a:pt x="22639" y="12627"/>
                  </a:lnTo>
                  <a:lnTo>
                    <a:pt x="21769" y="12627"/>
                  </a:lnTo>
                  <a:lnTo>
                    <a:pt x="21188" y="12914"/>
                  </a:lnTo>
                  <a:lnTo>
                    <a:pt x="19737" y="12340"/>
                  </a:lnTo>
                  <a:lnTo>
                    <a:pt x="19737" y="11766"/>
                  </a:lnTo>
                  <a:lnTo>
                    <a:pt x="19156" y="9470"/>
                  </a:lnTo>
                  <a:lnTo>
                    <a:pt x="17705" y="9470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2" name="Google Shape;1892;p13"/>
            <p:cNvSpPr/>
            <p:nvPr/>
          </p:nvSpPr>
          <p:spPr>
            <a:xfrm>
              <a:off x="605970" y="6876246"/>
              <a:ext cx="33810" cy="37492"/>
            </a:xfrm>
            <a:custGeom>
              <a:avLst/>
              <a:gdLst/>
              <a:ahLst/>
              <a:cxnLst/>
              <a:rect l="l" t="t" r="r" b="b"/>
              <a:pathLst>
                <a:path w="33810" h="37492" extrusionOk="0">
                  <a:moveTo>
                    <a:pt x="288" y="9158"/>
                  </a:moveTo>
                  <a:lnTo>
                    <a:pt x="577" y="8872"/>
                  </a:lnTo>
                  <a:lnTo>
                    <a:pt x="2889" y="8299"/>
                  </a:lnTo>
                  <a:lnTo>
                    <a:pt x="2600" y="6868"/>
                  </a:lnTo>
                  <a:lnTo>
                    <a:pt x="2311" y="5151"/>
                  </a:lnTo>
                  <a:lnTo>
                    <a:pt x="2311" y="4006"/>
                  </a:lnTo>
                  <a:lnTo>
                    <a:pt x="2600" y="2289"/>
                  </a:lnTo>
                  <a:lnTo>
                    <a:pt x="3178" y="1717"/>
                  </a:lnTo>
                  <a:lnTo>
                    <a:pt x="5201" y="0"/>
                  </a:lnTo>
                  <a:lnTo>
                    <a:pt x="6646" y="858"/>
                  </a:lnTo>
                  <a:lnTo>
                    <a:pt x="7224" y="3434"/>
                  </a:lnTo>
                  <a:lnTo>
                    <a:pt x="8380" y="7154"/>
                  </a:lnTo>
                  <a:lnTo>
                    <a:pt x="12136" y="6582"/>
                  </a:lnTo>
                  <a:lnTo>
                    <a:pt x="18005" y="5613"/>
                  </a:lnTo>
                  <a:lnTo>
                    <a:pt x="20517" y="10589"/>
                  </a:lnTo>
                  <a:lnTo>
                    <a:pt x="22251" y="13737"/>
                  </a:lnTo>
                  <a:lnTo>
                    <a:pt x="23696" y="16599"/>
                  </a:lnTo>
                  <a:lnTo>
                    <a:pt x="25140" y="19747"/>
                  </a:lnTo>
                  <a:lnTo>
                    <a:pt x="25429" y="19461"/>
                  </a:lnTo>
                  <a:lnTo>
                    <a:pt x="25718" y="19461"/>
                  </a:lnTo>
                  <a:lnTo>
                    <a:pt x="26585" y="15168"/>
                  </a:lnTo>
                  <a:lnTo>
                    <a:pt x="27163" y="10875"/>
                  </a:lnTo>
                  <a:lnTo>
                    <a:pt x="28030" y="6582"/>
                  </a:lnTo>
                  <a:lnTo>
                    <a:pt x="28319" y="5724"/>
                  </a:lnTo>
                  <a:lnTo>
                    <a:pt x="29186" y="4292"/>
                  </a:lnTo>
                  <a:lnTo>
                    <a:pt x="30053" y="4006"/>
                  </a:lnTo>
                  <a:lnTo>
                    <a:pt x="32943" y="2861"/>
                  </a:lnTo>
                  <a:lnTo>
                    <a:pt x="33810" y="3720"/>
                  </a:lnTo>
                  <a:lnTo>
                    <a:pt x="33232" y="6868"/>
                  </a:lnTo>
                  <a:lnTo>
                    <a:pt x="31787" y="14882"/>
                  </a:lnTo>
                  <a:lnTo>
                    <a:pt x="30053" y="23182"/>
                  </a:lnTo>
                  <a:lnTo>
                    <a:pt x="28319" y="31195"/>
                  </a:lnTo>
                  <a:lnTo>
                    <a:pt x="27452" y="35488"/>
                  </a:lnTo>
                  <a:lnTo>
                    <a:pt x="25140" y="37205"/>
                  </a:lnTo>
                  <a:lnTo>
                    <a:pt x="21673" y="37492"/>
                  </a:lnTo>
                  <a:lnTo>
                    <a:pt x="19939" y="37492"/>
                  </a:lnTo>
                  <a:lnTo>
                    <a:pt x="19072" y="37205"/>
                  </a:lnTo>
                  <a:lnTo>
                    <a:pt x="18783" y="35488"/>
                  </a:lnTo>
                  <a:lnTo>
                    <a:pt x="18494" y="33771"/>
                  </a:lnTo>
                  <a:lnTo>
                    <a:pt x="18783" y="32912"/>
                  </a:lnTo>
                  <a:lnTo>
                    <a:pt x="20517" y="32340"/>
                  </a:lnTo>
                  <a:lnTo>
                    <a:pt x="23118" y="31768"/>
                  </a:lnTo>
                  <a:lnTo>
                    <a:pt x="24273" y="29192"/>
                  </a:lnTo>
                  <a:lnTo>
                    <a:pt x="23118" y="26616"/>
                  </a:lnTo>
                  <a:lnTo>
                    <a:pt x="19939" y="20606"/>
                  </a:lnTo>
                  <a:lnTo>
                    <a:pt x="16471" y="14309"/>
                  </a:lnTo>
                  <a:lnTo>
                    <a:pt x="13292" y="8585"/>
                  </a:lnTo>
                  <a:lnTo>
                    <a:pt x="10692" y="11161"/>
                  </a:lnTo>
                  <a:lnTo>
                    <a:pt x="10114" y="12020"/>
                  </a:lnTo>
                  <a:lnTo>
                    <a:pt x="9536" y="12878"/>
                  </a:lnTo>
                  <a:lnTo>
                    <a:pt x="9536" y="13451"/>
                  </a:lnTo>
                  <a:lnTo>
                    <a:pt x="10114" y="16599"/>
                  </a:lnTo>
                  <a:lnTo>
                    <a:pt x="10692" y="19747"/>
                  </a:lnTo>
                  <a:lnTo>
                    <a:pt x="11559" y="22895"/>
                  </a:lnTo>
                  <a:lnTo>
                    <a:pt x="11848" y="24326"/>
                  </a:lnTo>
                  <a:lnTo>
                    <a:pt x="12714" y="25471"/>
                  </a:lnTo>
                  <a:lnTo>
                    <a:pt x="14448" y="25185"/>
                  </a:lnTo>
                  <a:lnTo>
                    <a:pt x="16182" y="24899"/>
                  </a:lnTo>
                  <a:lnTo>
                    <a:pt x="16760" y="26044"/>
                  </a:lnTo>
                  <a:lnTo>
                    <a:pt x="16471" y="27188"/>
                  </a:lnTo>
                  <a:lnTo>
                    <a:pt x="16471" y="28047"/>
                  </a:lnTo>
                  <a:lnTo>
                    <a:pt x="15893" y="29192"/>
                  </a:lnTo>
                  <a:lnTo>
                    <a:pt x="15026" y="29478"/>
                  </a:lnTo>
                  <a:lnTo>
                    <a:pt x="10692" y="31481"/>
                  </a:lnTo>
                  <a:lnTo>
                    <a:pt x="7513" y="30050"/>
                  </a:lnTo>
                  <a:lnTo>
                    <a:pt x="6357" y="25185"/>
                  </a:lnTo>
                  <a:lnTo>
                    <a:pt x="5779" y="21751"/>
                  </a:lnTo>
                  <a:lnTo>
                    <a:pt x="4912" y="18316"/>
                  </a:lnTo>
                  <a:lnTo>
                    <a:pt x="4334" y="14882"/>
                  </a:lnTo>
                  <a:lnTo>
                    <a:pt x="4045" y="13451"/>
                  </a:lnTo>
                  <a:lnTo>
                    <a:pt x="3467" y="12878"/>
                  </a:lnTo>
                  <a:lnTo>
                    <a:pt x="1155" y="12878"/>
                  </a:lnTo>
                  <a:lnTo>
                    <a:pt x="288" y="12020"/>
                  </a:lnTo>
                  <a:lnTo>
                    <a:pt x="0" y="11161"/>
                  </a:lnTo>
                  <a:lnTo>
                    <a:pt x="0" y="10589"/>
                  </a:lnTo>
                  <a:lnTo>
                    <a:pt x="288" y="9158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3" name="Google Shape;1893;p13"/>
            <p:cNvSpPr/>
            <p:nvPr/>
          </p:nvSpPr>
          <p:spPr>
            <a:xfrm>
              <a:off x="623598" y="6881111"/>
              <a:ext cx="1444" cy="748"/>
            </a:xfrm>
            <a:custGeom>
              <a:avLst/>
              <a:gdLst/>
              <a:ahLst/>
              <a:cxnLst/>
              <a:rect l="l" t="t" r="r" b="b"/>
              <a:pathLst>
                <a:path w="1444" h="748" extrusionOk="0">
                  <a:moveTo>
                    <a:pt x="1444" y="572"/>
                  </a:moveTo>
                  <a:lnTo>
                    <a:pt x="377" y="748"/>
                  </a:lnTo>
                  <a:lnTo>
                    <a:pt x="0" y="0"/>
                  </a:lnTo>
                  <a:lnTo>
                    <a:pt x="1444" y="572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4" name="Google Shape;1894;p13"/>
            <p:cNvSpPr/>
            <p:nvPr/>
          </p:nvSpPr>
          <p:spPr>
            <a:xfrm>
              <a:off x="493671" y="6920985"/>
              <a:ext cx="32602" cy="33863"/>
            </a:xfrm>
            <a:custGeom>
              <a:avLst/>
              <a:gdLst/>
              <a:ahLst/>
              <a:cxnLst/>
              <a:rect l="l" t="t" r="r" b="b"/>
              <a:pathLst>
                <a:path w="32602" h="33863" extrusionOk="0">
                  <a:moveTo>
                    <a:pt x="11061" y="15209"/>
                  </a:moveTo>
                  <a:lnTo>
                    <a:pt x="13972" y="14348"/>
                  </a:lnTo>
                  <a:lnTo>
                    <a:pt x="16301" y="13200"/>
                  </a:lnTo>
                  <a:lnTo>
                    <a:pt x="18921" y="12339"/>
                  </a:lnTo>
                  <a:lnTo>
                    <a:pt x="23869" y="10044"/>
                  </a:lnTo>
                  <a:lnTo>
                    <a:pt x="28818" y="11479"/>
                  </a:lnTo>
                  <a:lnTo>
                    <a:pt x="31147" y="16070"/>
                  </a:lnTo>
                  <a:lnTo>
                    <a:pt x="32020" y="17218"/>
                  </a:lnTo>
                  <a:lnTo>
                    <a:pt x="32020" y="18940"/>
                  </a:lnTo>
                  <a:lnTo>
                    <a:pt x="32602" y="20375"/>
                  </a:lnTo>
                  <a:lnTo>
                    <a:pt x="32311" y="25827"/>
                  </a:lnTo>
                  <a:lnTo>
                    <a:pt x="29109" y="28984"/>
                  </a:lnTo>
                  <a:lnTo>
                    <a:pt x="25034" y="31280"/>
                  </a:lnTo>
                  <a:lnTo>
                    <a:pt x="20958" y="33576"/>
                  </a:lnTo>
                  <a:lnTo>
                    <a:pt x="16883" y="33863"/>
                  </a:lnTo>
                  <a:lnTo>
                    <a:pt x="12808" y="30993"/>
                  </a:lnTo>
                  <a:lnTo>
                    <a:pt x="11643" y="30419"/>
                  </a:lnTo>
                  <a:lnTo>
                    <a:pt x="9606" y="29558"/>
                  </a:lnTo>
                  <a:lnTo>
                    <a:pt x="11061" y="27549"/>
                  </a:lnTo>
                  <a:lnTo>
                    <a:pt x="12517" y="25253"/>
                  </a:lnTo>
                  <a:lnTo>
                    <a:pt x="14263" y="24966"/>
                  </a:lnTo>
                  <a:lnTo>
                    <a:pt x="16301" y="26401"/>
                  </a:lnTo>
                  <a:lnTo>
                    <a:pt x="20376" y="29558"/>
                  </a:lnTo>
                  <a:lnTo>
                    <a:pt x="26489" y="24966"/>
                  </a:lnTo>
                  <a:lnTo>
                    <a:pt x="26780" y="21523"/>
                  </a:lnTo>
                  <a:lnTo>
                    <a:pt x="27363" y="18653"/>
                  </a:lnTo>
                  <a:lnTo>
                    <a:pt x="24451" y="16357"/>
                  </a:lnTo>
                  <a:lnTo>
                    <a:pt x="21541" y="17505"/>
                  </a:lnTo>
                  <a:lnTo>
                    <a:pt x="18921" y="18366"/>
                  </a:lnTo>
                  <a:lnTo>
                    <a:pt x="16592" y="19514"/>
                  </a:lnTo>
                  <a:lnTo>
                    <a:pt x="14263" y="20375"/>
                  </a:lnTo>
                  <a:lnTo>
                    <a:pt x="9023" y="22384"/>
                  </a:lnTo>
                  <a:lnTo>
                    <a:pt x="5239" y="21523"/>
                  </a:lnTo>
                  <a:lnTo>
                    <a:pt x="2619" y="17792"/>
                  </a:lnTo>
                  <a:lnTo>
                    <a:pt x="0" y="13774"/>
                  </a:lnTo>
                  <a:lnTo>
                    <a:pt x="873" y="8322"/>
                  </a:lnTo>
                  <a:lnTo>
                    <a:pt x="4657" y="4878"/>
                  </a:lnTo>
                  <a:lnTo>
                    <a:pt x="8150" y="2008"/>
                  </a:lnTo>
                  <a:lnTo>
                    <a:pt x="11934" y="0"/>
                  </a:lnTo>
                  <a:lnTo>
                    <a:pt x="16592" y="1721"/>
                  </a:lnTo>
                  <a:lnTo>
                    <a:pt x="17465" y="1721"/>
                  </a:lnTo>
                  <a:lnTo>
                    <a:pt x="18339" y="2008"/>
                  </a:lnTo>
                  <a:lnTo>
                    <a:pt x="18921" y="2582"/>
                  </a:lnTo>
                  <a:lnTo>
                    <a:pt x="19503" y="3730"/>
                  </a:lnTo>
                  <a:lnTo>
                    <a:pt x="20958" y="5165"/>
                  </a:lnTo>
                  <a:lnTo>
                    <a:pt x="20667" y="5739"/>
                  </a:lnTo>
                  <a:lnTo>
                    <a:pt x="19794" y="7748"/>
                  </a:lnTo>
                  <a:lnTo>
                    <a:pt x="17174" y="8609"/>
                  </a:lnTo>
                  <a:lnTo>
                    <a:pt x="15428" y="7461"/>
                  </a:lnTo>
                  <a:lnTo>
                    <a:pt x="12225" y="5739"/>
                  </a:lnTo>
                  <a:lnTo>
                    <a:pt x="7277" y="8035"/>
                  </a:lnTo>
                  <a:lnTo>
                    <a:pt x="6695" y="11479"/>
                  </a:lnTo>
                  <a:lnTo>
                    <a:pt x="6404" y="14061"/>
                  </a:lnTo>
                  <a:lnTo>
                    <a:pt x="8441" y="15783"/>
                  </a:lnTo>
                  <a:lnTo>
                    <a:pt x="11061" y="15209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5" name="Google Shape;1895;p13"/>
            <p:cNvSpPr/>
            <p:nvPr/>
          </p:nvSpPr>
          <p:spPr>
            <a:xfrm>
              <a:off x="522666" y="6914934"/>
              <a:ext cx="22942" cy="25397"/>
            </a:xfrm>
            <a:custGeom>
              <a:avLst/>
              <a:gdLst/>
              <a:ahLst/>
              <a:cxnLst/>
              <a:rect l="l" t="t" r="r" b="b"/>
              <a:pathLst>
                <a:path w="22942" h="25397" extrusionOk="0">
                  <a:moveTo>
                    <a:pt x="6764" y="12409"/>
                  </a:moveTo>
                  <a:lnTo>
                    <a:pt x="9117" y="11255"/>
                  </a:lnTo>
                  <a:lnTo>
                    <a:pt x="11470" y="9523"/>
                  </a:lnTo>
                  <a:lnTo>
                    <a:pt x="13824" y="8080"/>
                  </a:lnTo>
                  <a:lnTo>
                    <a:pt x="12059" y="5772"/>
                  </a:lnTo>
                  <a:lnTo>
                    <a:pt x="10294" y="4906"/>
                  </a:lnTo>
                  <a:lnTo>
                    <a:pt x="7941" y="5772"/>
                  </a:lnTo>
                  <a:lnTo>
                    <a:pt x="7647" y="865"/>
                  </a:lnTo>
                  <a:lnTo>
                    <a:pt x="12647" y="0"/>
                  </a:lnTo>
                  <a:lnTo>
                    <a:pt x="18824" y="3174"/>
                  </a:lnTo>
                  <a:lnTo>
                    <a:pt x="20294" y="7215"/>
                  </a:lnTo>
                  <a:lnTo>
                    <a:pt x="20294" y="7792"/>
                  </a:lnTo>
                  <a:lnTo>
                    <a:pt x="19706" y="9235"/>
                  </a:lnTo>
                  <a:lnTo>
                    <a:pt x="18824" y="9812"/>
                  </a:lnTo>
                  <a:lnTo>
                    <a:pt x="15882" y="11832"/>
                  </a:lnTo>
                  <a:lnTo>
                    <a:pt x="12941" y="13564"/>
                  </a:lnTo>
                  <a:lnTo>
                    <a:pt x="9706" y="15584"/>
                  </a:lnTo>
                  <a:lnTo>
                    <a:pt x="7647" y="16738"/>
                  </a:lnTo>
                  <a:lnTo>
                    <a:pt x="8235" y="17893"/>
                  </a:lnTo>
                  <a:lnTo>
                    <a:pt x="9706" y="18759"/>
                  </a:lnTo>
                  <a:lnTo>
                    <a:pt x="12941" y="20779"/>
                  </a:lnTo>
                  <a:lnTo>
                    <a:pt x="17059" y="19047"/>
                  </a:lnTo>
                  <a:lnTo>
                    <a:pt x="17941" y="15584"/>
                  </a:lnTo>
                  <a:lnTo>
                    <a:pt x="17941" y="15007"/>
                  </a:lnTo>
                  <a:lnTo>
                    <a:pt x="17647" y="14141"/>
                  </a:lnTo>
                  <a:lnTo>
                    <a:pt x="18235" y="13852"/>
                  </a:lnTo>
                  <a:lnTo>
                    <a:pt x="19118" y="12698"/>
                  </a:lnTo>
                  <a:lnTo>
                    <a:pt x="20294" y="12121"/>
                  </a:lnTo>
                  <a:lnTo>
                    <a:pt x="21471" y="11255"/>
                  </a:lnTo>
                  <a:lnTo>
                    <a:pt x="21765" y="12121"/>
                  </a:lnTo>
                  <a:lnTo>
                    <a:pt x="22647" y="12987"/>
                  </a:lnTo>
                  <a:lnTo>
                    <a:pt x="22647" y="13852"/>
                  </a:lnTo>
                  <a:lnTo>
                    <a:pt x="22942" y="17893"/>
                  </a:lnTo>
                  <a:lnTo>
                    <a:pt x="21177" y="20779"/>
                  </a:lnTo>
                  <a:lnTo>
                    <a:pt x="17941" y="23088"/>
                  </a:lnTo>
                  <a:lnTo>
                    <a:pt x="14118" y="25108"/>
                  </a:lnTo>
                  <a:lnTo>
                    <a:pt x="10294" y="25397"/>
                  </a:lnTo>
                  <a:lnTo>
                    <a:pt x="6764" y="22799"/>
                  </a:lnTo>
                  <a:lnTo>
                    <a:pt x="2353" y="19913"/>
                  </a:lnTo>
                  <a:lnTo>
                    <a:pt x="0" y="16161"/>
                  </a:lnTo>
                  <a:lnTo>
                    <a:pt x="0" y="5483"/>
                  </a:lnTo>
                  <a:lnTo>
                    <a:pt x="2941" y="1731"/>
                  </a:lnTo>
                  <a:lnTo>
                    <a:pt x="4706" y="11544"/>
                  </a:lnTo>
                  <a:lnTo>
                    <a:pt x="5000" y="13275"/>
                  </a:lnTo>
                  <a:lnTo>
                    <a:pt x="6764" y="12409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6" name="Google Shape;1896;p13"/>
            <p:cNvSpPr/>
            <p:nvPr/>
          </p:nvSpPr>
          <p:spPr>
            <a:xfrm>
              <a:off x="525607" y="6915800"/>
              <a:ext cx="5000" cy="10678"/>
            </a:xfrm>
            <a:custGeom>
              <a:avLst/>
              <a:gdLst/>
              <a:ahLst/>
              <a:cxnLst/>
              <a:rect l="l" t="t" r="r" b="b"/>
              <a:pathLst>
                <a:path w="5000" h="10678" extrusionOk="0">
                  <a:moveTo>
                    <a:pt x="1764" y="7215"/>
                  </a:moveTo>
                  <a:lnTo>
                    <a:pt x="1764" y="10678"/>
                  </a:lnTo>
                  <a:lnTo>
                    <a:pt x="0" y="865"/>
                  </a:lnTo>
                  <a:lnTo>
                    <a:pt x="4706" y="0"/>
                  </a:lnTo>
                  <a:lnTo>
                    <a:pt x="5000" y="4906"/>
                  </a:lnTo>
                  <a:lnTo>
                    <a:pt x="2941" y="5483"/>
                  </a:lnTo>
                  <a:lnTo>
                    <a:pt x="1764" y="721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7" name="Google Shape;1897;p13"/>
            <p:cNvSpPr/>
            <p:nvPr/>
          </p:nvSpPr>
          <p:spPr>
            <a:xfrm>
              <a:off x="562513" y="6891973"/>
              <a:ext cx="26564" cy="27817"/>
            </a:xfrm>
            <a:custGeom>
              <a:avLst/>
              <a:gdLst/>
              <a:ahLst/>
              <a:cxnLst/>
              <a:rect l="l" t="t" r="r" b="b"/>
              <a:pathLst>
                <a:path w="26564" h="27817" extrusionOk="0">
                  <a:moveTo>
                    <a:pt x="25678" y="19213"/>
                  </a:moveTo>
                  <a:lnTo>
                    <a:pt x="26564" y="20934"/>
                  </a:lnTo>
                  <a:lnTo>
                    <a:pt x="26269" y="22081"/>
                  </a:lnTo>
                  <a:lnTo>
                    <a:pt x="24498" y="22368"/>
                  </a:lnTo>
                  <a:lnTo>
                    <a:pt x="23022" y="22655"/>
                  </a:lnTo>
                  <a:lnTo>
                    <a:pt x="21841" y="22655"/>
                  </a:lnTo>
                  <a:lnTo>
                    <a:pt x="20661" y="22941"/>
                  </a:lnTo>
                  <a:lnTo>
                    <a:pt x="20661" y="23228"/>
                  </a:lnTo>
                  <a:lnTo>
                    <a:pt x="18595" y="24375"/>
                  </a:lnTo>
                  <a:lnTo>
                    <a:pt x="16824" y="25809"/>
                  </a:lnTo>
                  <a:lnTo>
                    <a:pt x="14758" y="26669"/>
                  </a:lnTo>
                  <a:lnTo>
                    <a:pt x="11216" y="27817"/>
                  </a:lnTo>
                  <a:lnTo>
                    <a:pt x="8264" y="26669"/>
                  </a:lnTo>
                  <a:lnTo>
                    <a:pt x="6788" y="23515"/>
                  </a:lnTo>
                  <a:lnTo>
                    <a:pt x="4132" y="18640"/>
                  </a:lnTo>
                  <a:lnTo>
                    <a:pt x="2361" y="13478"/>
                  </a:lnTo>
                  <a:lnTo>
                    <a:pt x="295" y="8603"/>
                  </a:lnTo>
                  <a:lnTo>
                    <a:pt x="0" y="8029"/>
                  </a:lnTo>
                  <a:lnTo>
                    <a:pt x="1180" y="6595"/>
                  </a:lnTo>
                  <a:lnTo>
                    <a:pt x="2066" y="6022"/>
                  </a:lnTo>
                  <a:lnTo>
                    <a:pt x="3541" y="5161"/>
                  </a:lnTo>
                  <a:lnTo>
                    <a:pt x="4722" y="5448"/>
                  </a:lnTo>
                  <a:lnTo>
                    <a:pt x="5608" y="7169"/>
                  </a:lnTo>
                  <a:lnTo>
                    <a:pt x="6788" y="10323"/>
                  </a:lnTo>
                  <a:lnTo>
                    <a:pt x="7969" y="13191"/>
                  </a:lnTo>
                  <a:lnTo>
                    <a:pt x="9149" y="16346"/>
                  </a:lnTo>
                  <a:lnTo>
                    <a:pt x="9740" y="17493"/>
                  </a:lnTo>
                  <a:lnTo>
                    <a:pt x="10330" y="18927"/>
                  </a:lnTo>
                  <a:lnTo>
                    <a:pt x="11216" y="20074"/>
                  </a:lnTo>
                  <a:lnTo>
                    <a:pt x="12101" y="21221"/>
                  </a:lnTo>
                  <a:lnTo>
                    <a:pt x="13577" y="22655"/>
                  </a:lnTo>
                  <a:lnTo>
                    <a:pt x="15053" y="21508"/>
                  </a:lnTo>
                  <a:lnTo>
                    <a:pt x="16529" y="20647"/>
                  </a:lnTo>
                  <a:lnTo>
                    <a:pt x="17709" y="19213"/>
                  </a:lnTo>
                  <a:lnTo>
                    <a:pt x="18299" y="17779"/>
                  </a:lnTo>
                  <a:lnTo>
                    <a:pt x="18595" y="16632"/>
                  </a:lnTo>
                  <a:lnTo>
                    <a:pt x="18004" y="14912"/>
                  </a:lnTo>
                  <a:lnTo>
                    <a:pt x="17414" y="13478"/>
                  </a:lnTo>
                  <a:lnTo>
                    <a:pt x="16233" y="10323"/>
                  </a:lnTo>
                  <a:lnTo>
                    <a:pt x="15053" y="7169"/>
                  </a:lnTo>
                  <a:lnTo>
                    <a:pt x="13577" y="3728"/>
                  </a:lnTo>
                  <a:lnTo>
                    <a:pt x="12691" y="1720"/>
                  </a:lnTo>
                  <a:lnTo>
                    <a:pt x="14167" y="1433"/>
                  </a:lnTo>
                  <a:lnTo>
                    <a:pt x="15348" y="860"/>
                  </a:lnTo>
                  <a:lnTo>
                    <a:pt x="16824" y="286"/>
                  </a:lnTo>
                  <a:lnTo>
                    <a:pt x="18004" y="0"/>
                  </a:lnTo>
                  <a:lnTo>
                    <a:pt x="18890" y="2007"/>
                  </a:lnTo>
                  <a:lnTo>
                    <a:pt x="20956" y="7742"/>
                  </a:lnTo>
                  <a:lnTo>
                    <a:pt x="23317" y="13478"/>
                  </a:lnTo>
                  <a:lnTo>
                    <a:pt x="25678" y="19213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8" name="Google Shape;1898;p13"/>
            <p:cNvSpPr/>
            <p:nvPr/>
          </p:nvSpPr>
          <p:spPr>
            <a:xfrm>
              <a:off x="543196" y="6902836"/>
              <a:ext cx="21734" cy="25396"/>
            </a:xfrm>
            <a:custGeom>
              <a:avLst/>
              <a:gdLst/>
              <a:ahLst/>
              <a:cxnLst/>
              <a:rect l="l" t="t" r="r" b="b"/>
              <a:pathLst>
                <a:path w="21734" h="25396" extrusionOk="0">
                  <a:moveTo>
                    <a:pt x="5015" y="13544"/>
                  </a:moveTo>
                  <a:lnTo>
                    <a:pt x="6687" y="16648"/>
                  </a:lnTo>
                  <a:lnTo>
                    <a:pt x="10031" y="19188"/>
                  </a:lnTo>
                  <a:lnTo>
                    <a:pt x="12817" y="21163"/>
                  </a:lnTo>
                  <a:lnTo>
                    <a:pt x="16440" y="19188"/>
                  </a:lnTo>
                  <a:lnTo>
                    <a:pt x="16440" y="15520"/>
                  </a:lnTo>
                  <a:lnTo>
                    <a:pt x="16718" y="14391"/>
                  </a:lnTo>
                  <a:lnTo>
                    <a:pt x="16718" y="12980"/>
                  </a:lnTo>
                  <a:lnTo>
                    <a:pt x="17276" y="12416"/>
                  </a:lnTo>
                  <a:lnTo>
                    <a:pt x="18112" y="11851"/>
                  </a:lnTo>
                  <a:lnTo>
                    <a:pt x="19505" y="11569"/>
                  </a:lnTo>
                  <a:lnTo>
                    <a:pt x="20619" y="11287"/>
                  </a:lnTo>
                  <a:lnTo>
                    <a:pt x="20898" y="12134"/>
                  </a:lnTo>
                  <a:lnTo>
                    <a:pt x="21455" y="13262"/>
                  </a:lnTo>
                  <a:lnTo>
                    <a:pt x="21455" y="14109"/>
                  </a:lnTo>
                  <a:lnTo>
                    <a:pt x="21734" y="19188"/>
                  </a:lnTo>
                  <a:lnTo>
                    <a:pt x="19505" y="22292"/>
                  </a:lnTo>
                  <a:lnTo>
                    <a:pt x="15325" y="23985"/>
                  </a:lnTo>
                  <a:lnTo>
                    <a:pt x="10588" y="25396"/>
                  </a:lnTo>
                  <a:lnTo>
                    <a:pt x="6408" y="24268"/>
                  </a:lnTo>
                  <a:lnTo>
                    <a:pt x="3622" y="20317"/>
                  </a:lnTo>
                  <a:lnTo>
                    <a:pt x="1114" y="16931"/>
                  </a:lnTo>
                  <a:lnTo>
                    <a:pt x="0" y="13262"/>
                  </a:lnTo>
                  <a:lnTo>
                    <a:pt x="557" y="9029"/>
                  </a:lnTo>
                  <a:lnTo>
                    <a:pt x="835" y="5361"/>
                  </a:lnTo>
                  <a:lnTo>
                    <a:pt x="3901" y="1975"/>
                  </a:lnTo>
                  <a:lnTo>
                    <a:pt x="7802" y="1128"/>
                  </a:lnTo>
                  <a:lnTo>
                    <a:pt x="12539" y="0"/>
                  </a:lnTo>
                  <a:lnTo>
                    <a:pt x="15604" y="1128"/>
                  </a:lnTo>
                  <a:lnTo>
                    <a:pt x="17833" y="5079"/>
                  </a:lnTo>
                  <a:lnTo>
                    <a:pt x="15882" y="6490"/>
                  </a:lnTo>
                  <a:lnTo>
                    <a:pt x="14211" y="7901"/>
                  </a:lnTo>
                  <a:lnTo>
                    <a:pt x="11703" y="5925"/>
                  </a:lnTo>
                  <a:lnTo>
                    <a:pt x="9474" y="4232"/>
                  </a:lnTo>
                  <a:lnTo>
                    <a:pt x="5851" y="6490"/>
                  </a:lnTo>
                  <a:lnTo>
                    <a:pt x="5572" y="9594"/>
                  </a:lnTo>
                  <a:lnTo>
                    <a:pt x="5015" y="1354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9" name="Google Shape;1899;p13"/>
            <p:cNvSpPr/>
            <p:nvPr/>
          </p:nvSpPr>
          <p:spPr>
            <a:xfrm>
              <a:off x="598719" y="6885922"/>
              <a:ext cx="10867" cy="22979"/>
            </a:xfrm>
            <a:custGeom>
              <a:avLst/>
              <a:gdLst/>
              <a:ahLst/>
              <a:cxnLst/>
              <a:rect l="l" t="t" r="r" b="b"/>
              <a:pathLst>
                <a:path w="10867" h="22979" extrusionOk="0">
                  <a:moveTo>
                    <a:pt x="3717" y="0"/>
                  </a:moveTo>
                  <a:lnTo>
                    <a:pt x="4289" y="0"/>
                  </a:lnTo>
                  <a:lnTo>
                    <a:pt x="5433" y="567"/>
                  </a:lnTo>
                  <a:lnTo>
                    <a:pt x="5433" y="1134"/>
                  </a:lnTo>
                  <a:lnTo>
                    <a:pt x="7435" y="7375"/>
                  </a:lnTo>
                  <a:lnTo>
                    <a:pt x="8865" y="13617"/>
                  </a:lnTo>
                  <a:lnTo>
                    <a:pt x="10581" y="19858"/>
                  </a:lnTo>
                  <a:lnTo>
                    <a:pt x="10581" y="20425"/>
                  </a:lnTo>
                  <a:lnTo>
                    <a:pt x="10867" y="21276"/>
                  </a:lnTo>
                  <a:lnTo>
                    <a:pt x="10009" y="21560"/>
                  </a:lnTo>
                  <a:lnTo>
                    <a:pt x="9151" y="22127"/>
                  </a:lnTo>
                  <a:lnTo>
                    <a:pt x="8293" y="22411"/>
                  </a:lnTo>
                  <a:lnTo>
                    <a:pt x="6863" y="22979"/>
                  </a:lnTo>
                  <a:lnTo>
                    <a:pt x="5719" y="22695"/>
                  </a:lnTo>
                  <a:lnTo>
                    <a:pt x="5433" y="20993"/>
                  </a:lnTo>
                  <a:lnTo>
                    <a:pt x="4289" y="16737"/>
                  </a:lnTo>
                  <a:lnTo>
                    <a:pt x="3145" y="12198"/>
                  </a:lnTo>
                  <a:lnTo>
                    <a:pt x="2001" y="7943"/>
                  </a:lnTo>
                  <a:lnTo>
                    <a:pt x="1715" y="6524"/>
                  </a:lnTo>
                  <a:lnTo>
                    <a:pt x="1143" y="5390"/>
                  </a:lnTo>
                  <a:lnTo>
                    <a:pt x="857" y="3971"/>
                  </a:lnTo>
                  <a:lnTo>
                    <a:pt x="0" y="851"/>
                  </a:lnTo>
                  <a:lnTo>
                    <a:pt x="571" y="0"/>
                  </a:lnTo>
                  <a:lnTo>
                    <a:pt x="3717" y="0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0" name="Google Shape;1900;p13"/>
            <p:cNvSpPr/>
            <p:nvPr/>
          </p:nvSpPr>
          <p:spPr>
            <a:xfrm>
              <a:off x="418820" y="7033452"/>
              <a:ext cx="31394" cy="36281"/>
            </a:xfrm>
            <a:custGeom>
              <a:avLst/>
              <a:gdLst/>
              <a:ahLst/>
              <a:cxnLst/>
              <a:rect l="l" t="t" r="r" b="b"/>
              <a:pathLst>
                <a:path w="31394" h="36281" extrusionOk="0">
                  <a:moveTo>
                    <a:pt x="2016" y="16254"/>
                  </a:moveTo>
                  <a:lnTo>
                    <a:pt x="6048" y="13641"/>
                  </a:lnTo>
                  <a:lnTo>
                    <a:pt x="6624" y="13351"/>
                  </a:lnTo>
                  <a:lnTo>
                    <a:pt x="6624" y="11319"/>
                  </a:lnTo>
                  <a:lnTo>
                    <a:pt x="6912" y="9288"/>
                  </a:lnTo>
                  <a:lnTo>
                    <a:pt x="6336" y="6966"/>
                  </a:lnTo>
                  <a:lnTo>
                    <a:pt x="6912" y="5224"/>
                  </a:lnTo>
                  <a:lnTo>
                    <a:pt x="8064" y="1451"/>
                  </a:lnTo>
                  <a:lnTo>
                    <a:pt x="11232" y="0"/>
                  </a:lnTo>
                  <a:lnTo>
                    <a:pt x="14689" y="1160"/>
                  </a:lnTo>
                  <a:lnTo>
                    <a:pt x="19585" y="2612"/>
                  </a:lnTo>
                  <a:lnTo>
                    <a:pt x="24481" y="4353"/>
                  </a:lnTo>
                  <a:lnTo>
                    <a:pt x="29378" y="6095"/>
                  </a:lnTo>
                  <a:lnTo>
                    <a:pt x="31394" y="6675"/>
                  </a:lnTo>
                  <a:lnTo>
                    <a:pt x="31106" y="7836"/>
                  </a:lnTo>
                  <a:lnTo>
                    <a:pt x="30818" y="9578"/>
                  </a:lnTo>
                  <a:lnTo>
                    <a:pt x="30242" y="11029"/>
                  </a:lnTo>
                  <a:lnTo>
                    <a:pt x="29378" y="11900"/>
                  </a:lnTo>
                  <a:lnTo>
                    <a:pt x="27650" y="11319"/>
                  </a:lnTo>
                  <a:lnTo>
                    <a:pt x="23617" y="9578"/>
                  </a:lnTo>
                  <a:lnTo>
                    <a:pt x="19297" y="8417"/>
                  </a:lnTo>
                  <a:lnTo>
                    <a:pt x="15265" y="6966"/>
                  </a:lnTo>
                  <a:lnTo>
                    <a:pt x="13249" y="6385"/>
                  </a:lnTo>
                  <a:lnTo>
                    <a:pt x="11808" y="6385"/>
                  </a:lnTo>
                  <a:lnTo>
                    <a:pt x="10944" y="8127"/>
                  </a:lnTo>
                  <a:lnTo>
                    <a:pt x="9792" y="10158"/>
                  </a:lnTo>
                  <a:lnTo>
                    <a:pt x="10080" y="11900"/>
                  </a:lnTo>
                  <a:lnTo>
                    <a:pt x="11808" y="13061"/>
                  </a:lnTo>
                  <a:lnTo>
                    <a:pt x="12961" y="13932"/>
                  </a:lnTo>
                  <a:lnTo>
                    <a:pt x="14401" y="14512"/>
                  </a:lnTo>
                  <a:lnTo>
                    <a:pt x="15841" y="15093"/>
                  </a:lnTo>
                  <a:lnTo>
                    <a:pt x="18721" y="16254"/>
                  </a:lnTo>
                  <a:lnTo>
                    <a:pt x="21889" y="17124"/>
                  </a:lnTo>
                  <a:lnTo>
                    <a:pt x="25057" y="18285"/>
                  </a:lnTo>
                  <a:lnTo>
                    <a:pt x="27074" y="18866"/>
                  </a:lnTo>
                  <a:lnTo>
                    <a:pt x="27362" y="19737"/>
                  </a:lnTo>
                  <a:lnTo>
                    <a:pt x="26786" y="21768"/>
                  </a:lnTo>
                  <a:lnTo>
                    <a:pt x="25922" y="23800"/>
                  </a:lnTo>
                  <a:lnTo>
                    <a:pt x="25057" y="24090"/>
                  </a:lnTo>
                  <a:lnTo>
                    <a:pt x="23041" y="23510"/>
                  </a:lnTo>
                  <a:lnTo>
                    <a:pt x="19297" y="22059"/>
                  </a:lnTo>
                  <a:lnTo>
                    <a:pt x="15553" y="20898"/>
                  </a:lnTo>
                  <a:lnTo>
                    <a:pt x="11808" y="19737"/>
                  </a:lnTo>
                  <a:lnTo>
                    <a:pt x="10080" y="19156"/>
                  </a:lnTo>
                  <a:lnTo>
                    <a:pt x="7776" y="18285"/>
                  </a:lnTo>
                  <a:lnTo>
                    <a:pt x="6624" y="20898"/>
                  </a:lnTo>
                  <a:lnTo>
                    <a:pt x="5760" y="23220"/>
                  </a:lnTo>
                  <a:lnTo>
                    <a:pt x="6912" y="25542"/>
                  </a:lnTo>
                  <a:lnTo>
                    <a:pt x="9504" y="26703"/>
                  </a:lnTo>
                  <a:lnTo>
                    <a:pt x="12961" y="27864"/>
                  </a:lnTo>
                  <a:lnTo>
                    <a:pt x="16417" y="29025"/>
                  </a:lnTo>
                  <a:lnTo>
                    <a:pt x="20161" y="30186"/>
                  </a:lnTo>
                  <a:lnTo>
                    <a:pt x="21889" y="30766"/>
                  </a:lnTo>
                  <a:lnTo>
                    <a:pt x="23329" y="31347"/>
                  </a:lnTo>
                  <a:lnTo>
                    <a:pt x="22465" y="33959"/>
                  </a:lnTo>
                  <a:lnTo>
                    <a:pt x="21601" y="36281"/>
                  </a:lnTo>
                  <a:lnTo>
                    <a:pt x="20449" y="36281"/>
                  </a:lnTo>
                  <a:lnTo>
                    <a:pt x="18433" y="35700"/>
                  </a:lnTo>
                  <a:lnTo>
                    <a:pt x="13537" y="33669"/>
                  </a:lnTo>
                  <a:lnTo>
                    <a:pt x="8352" y="32217"/>
                  </a:lnTo>
                  <a:lnTo>
                    <a:pt x="3168" y="30186"/>
                  </a:lnTo>
                  <a:lnTo>
                    <a:pt x="2016" y="29895"/>
                  </a:lnTo>
                  <a:lnTo>
                    <a:pt x="0" y="28734"/>
                  </a:lnTo>
                  <a:lnTo>
                    <a:pt x="0" y="28154"/>
                  </a:lnTo>
                  <a:lnTo>
                    <a:pt x="288" y="26412"/>
                  </a:lnTo>
                  <a:lnTo>
                    <a:pt x="1440" y="24961"/>
                  </a:lnTo>
                  <a:lnTo>
                    <a:pt x="2016" y="23510"/>
                  </a:lnTo>
                  <a:lnTo>
                    <a:pt x="1440" y="19737"/>
                  </a:lnTo>
                  <a:lnTo>
                    <a:pt x="2016" y="1625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1" name="Google Shape;1901;p13"/>
            <p:cNvSpPr/>
            <p:nvPr/>
          </p:nvSpPr>
          <p:spPr>
            <a:xfrm>
              <a:off x="433292" y="7011703"/>
              <a:ext cx="23013" cy="22979"/>
            </a:xfrm>
            <a:custGeom>
              <a:avLst/>
              <a:gdLst/>
              <a:ahLst/>
              <a:cxnLst/>
              <a:rect l="l" t="t" r="r" b="b"/>
              <a:pathLst>
                <a:path w="23013" h="22979" extrusionOk="0">
                  <a:moveTo>
                    <a:pt x="6818" y="15973"/>
                  </a:moveTo>
                  <a:lnTo>
                    <a:pt x="6818" y="16253"/>
                  </a:lnTo>
                  <a:lnTo>
                    <a:pt x="5114" y="16533"/>
                  </a:lnTo>
                  <a:lnTo>
                    <a:pt x="4830" y="16253"/>
                  </a:lnTo>
                  <a:lnTo>
                    <a:pt x="3977" y="15693"/>
                  </a:lnTo>
                  <a:lnTo>
                    <a:pt x="3125" y="14852"/>
                  </a:lnTo>
                  <a:lnTo>
                    <a:pt x="2841" y="13731"/>
                  </a:lnTo>
                  <a:lnTo>
                    <a:pt x="0" y="8126"/>
                  </a:lnTo>
                  <a:lnTo>
                    <a:pt x="4545" y="0"/>
                  </a:lnTo>
                  <a:lnTo>
                    <a:pt x="11648" y="0"/>
                  </a:lnTo>
                  <a:lnTo>
                    <a:pt x="13069" y="280"/>
                  </a:lnTo>
                  <a:lnTo>
                    <a:pt x="15058" y="1401"/>
                  </a:lnTo>
                  <a:lnTo>
                    <a:pt x="17331" y="2241"/>
                  </a:lnTo>
                  <a:lnTo>
                    <a:pt x="15626" y="10648"/>
                  </a:lnTo>
                  <a:lnTo>
                    <a:pt x="15342" y="11489"/>
                  </a:lnTo>
                  <a:lnTo>
                    <a:pt x="15058" y="12610"/>
                  </a:lnTo>
                  <a:lnTo>
                    <a:pt x="14774" y="13170"/>
                  </a:lnTo>
                  <a:lnTo>
                    <a:pt x="14490" y="16253"/>
                  </a:lnTo>
                  <a:lnTo>
                    <a:pt x="16194" y="17654"/>
                  </a:lnTo>
                  <a:lnTo>
                    <a:pt x="18467" y="16813"/>
                  </a:lnTo>
                  <a:lnTo>
                    <a:pt x="20740" y="15693"/>
                  </a:lnTo>
                  <a:lnTo>
                    <a:pt x="21593" y="11489"/>
                  </a:lnTo>
                  <a:lnTo>
                    <a:pt x="23013" y="21017"/>
                  </a:lnTo>
                  <a:lnTo>
                    <a:pt x="20172" y="22979"/>
                  </a:lnTo>
                  <a:lnTo>
                    <a:pt x="16194" y="22418"/>
                  </a:lnTo>
                  <a:lnTo>
                    <a:pt x="12217" y="22138"/>
                  </a:lnTo>
                  <a:lnTo>
                    <a:pt x="9944" y="19336"/>
                  </a:lnTo>
                  <a:lnTo>
                    <a:pt x="10512" y="15412"/>
                  </a:lnTo>
                  <a:lnTo>
                    <a:pt x="10796" y="13170"/>
                  </a:lnTo>
                  <a:lnTo>
                    <a:pt x="11648" y="10929"/>
                  </a:lnTo>
                  <a:lnTo>
                    <a:pt x="12217" y="8687"/>
                  </a:lnTo>
                  <a:lnTo>
                    <a:pt x="12217" y="7566"/>
                  </a:lnTo>
                  <a:lnTo>
                    <a:pt x="11648" y="6445"/>
                  </a:lnTo>
                  <a:lnTo>
                    <a:pt x="11364" y="5044"/>
                  </a:lnTo>
                  <a:lnTo>
                    <a:pt x="9944" y="5884"/>
                  </a:lnTo>
                  <a:lnTo>
                    <a:pt x="8523" y="6165"/>
                  </a:lnTo>
                  <a:lnTo>
                    <a:pt x="7671" y="7005"/>
                  </a:lnTo>
                  <a:lnTo>
                    <a:pt x="6534" y="8126"/>
                  </a:lnTo>
                  <a:lnTo>
                    <a:pt x="6534" y="9808"/>
                  </a:lnTo>
                  <a:lnTo>
                    <a:pt x="7387" y="11769"/>
                  </a:lnTo>
                  <a:lnTo>
                    <a:pt x="7671" y="12890"/>
                  </a:lnTo>
                  <a:lnTo>
                    <a:pt x="7103" y="14572"/>
                  </a:lnTo>
                  <a:lnTo>
                    <a:pt x="6818" y="15973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2" name="Google Shape;1902;p13"/>
            <p:cNvSpPr/>
            <p:nvPr/>
          </p:nvSpPr>
          <p:spPr>
            <a:xfrm>
              <a:off x="448919" y="7013945"/>
              <a:ext cx="13353" cy="18775"/>
            </a:xfrm>
            <a:custGeom>
              <a:avLst/>
              <a:gdLst/>
              <a:ahLst/>
              <a:cxnLst/>
              <a:rect l="l" t="t" r="r" b="b"/>
              <a:pathLst>
                <a:path w="13353" h="18775" extrusionOk="0">
                  <a:moveTo>
                    <a:pt x="10796" y="1961"/>
                  </a:moveTo>
                  <a:lnTo>
                    <a:pt x="12217" y="2241"/>
                  </a:lnTo>
                  <a:lnTo>
                    <a:pt x="12785" y="3643"/>
                  </a:lnTo>
                  <a:lnTo>
                    <a:pt x="13353" y="4763"/>
                  </a:lnTo>
                  <a:lnTo>
                    <a:pt x="12785" y="7005"/>
                  </a:lnTo>
                  <a:lnTo>
                    <a:pt x="12217" y="7566"/>
                  </a:lnTo>
                  <a:lnTo>
                    <a:pt x="9091" y="8967"/>
                  </a:lnTo>
                  <a:lnTo>
                    <a:pt x="9376" y="11769"/>
                  </a:lnTo>
                  <a:lnTo>
                    <a:pt x="8523" y="14291"/>
                  </a:lnTo>
                  <a:lnTo>
                    <a:pt x="7387" y="18775"/>
                  </a:lnTo>
                  <a:lnTo>
                    <a:pt x="5966" y="9247"/>
                  </a:lnTo>
                  <a:lnTo>
                    <a:pt x="3977" y="7286"/>
                  </a:lnTo>
                  <a:lnTo>
                    <a:pt x="1988" y="5604"/>
                  </a:lnTo>
                  <a:lnTo>
                    <a:pt x="852" y="5884"/>
                  </a:lnTo>
                  <a:lnTo>
                    <a:pt x="0" y="8407"/>
                  </a:lnTo>
                  <a:lnTo>
                    <a:pt x="1704" y="0"/>
                  </a:lnTo>
                  <a:lnTo>
                    <a:pt x="3409" y="840"/>
                  </a:lnTo>
                  <a:lnTo>
                    <a:pt x="5114" y="1681"/>
                  </a:lnTo>
                  <a:lnTo>
                    <a:pt x="6818" y="2522"/>
                  </a:lnTo>
                  <a:lnTo>
                    <a:pt x="7671" y="2802"/>
                  </a:lnTo>
                  <a:lnTo>
                    <a:pt x="8523" y="3082"/>
                  </a:lnTo>
                  <a:lnTo>
                    <a:pt x="9091" y="2802"/>
                  </a:lnTo>
                  <a:lnTo>
                    <a:pt x="10796" y="1961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3" name="Google Shape;1903;p13"/>
            <p:cNvSpPr/>
            <p:nvPr/>
          </p:nvSpPr>
          <p:spPr>
            <a:xfrm>
              <a:off x="411567" y="7083041"/>
              <a:ext cx="24149" cy="22978"/>
            </a:xfrm>
            <a:custGeom>
              <a:avLst/>
              <a:gdLst/>
              <a:ahLst/>
              <a:cxnLst/>
              <a:rect l="l" t="t" r="r" b="b"/>
              <a:pathLst>
                <a:path w="24149" h="22978" extrusionOk="0">
                  <a:moveTo>
                    <a:pt x="12785" y="17308"/>
                  </a:moveTo>
                  <a:lnTo>
                    <a:pt x="14205" y="17308"/>
                  </a:lnTo>
                  <a:lnTo>
                    <a:pt x="14774" y="17009"/>
                  </a:lnTo>
                  <a:lnTo>
                    <a:pt x="17046" y="16711"/>
                  </a:lnTo>
                  <a:lnTo>
                    <a:pt x="19319" y="15219"/>
                  </a:lnTo>
                  <a:lnTo>
                    <a:pt x="19319" y="11041"/>
                  </a:lnTo>
                  <a:lnTo>
                    <a:pt x="18467" y="8952"/>
                  </a:lnTo>
                  <a:lnTo>
                    <a:pt x="17046" y="7758"/>
                  </a:lnTo>
                  <a:lnTo>
                    <a:pt x="19319" y="0"/>
                  </a:lnTo>
                  <a:lnTo>
                    <a:pt x="24149" y="4476"/>
                  </a:lnTo>
                  <a:lnTo>
                    <a:pt x="24149" y="18502"/>
                  </a:lnTo>
                  <a:lnTo>
                    <a:pt x="19604" y="22978"/>
                  </a:lnTo>
                  <a:lnTo>
                    <a:pt x="5114" y="22978"/>
                  </a:lnTo>
                  <a:lnTo>
                    <a:pt x="0" y="18203"/>
                  </a:lnTo>
                  <a:lnTo>
                    <a:pt x="0" y="4476"/>
                  </a:lnTo>
                  <a:lnTo>
                    <a:pt x="4545" y="0"/>
                  </a:lnTo>
                  <a:lnTo>
                    <a:pt x="4261" y="8057"/>
                  </a:lnTo>
                  <a:lnTo>
                    <a:pt x="3409" y="12235"/>
                  </a:lnTo>
                  <a:lnTo>
                    <a:pt x="6250" y="14622"/>
                  </a:lnTo>
                  <a:lnTo>
                    <a:pt x="7955" y="16114"/>
                  </a:lnTo>
                  <a:lnTo>
                    <a:pt x="10228" y="16711"/>
                  </a:lnTo>
                  <a:lnTo>
                    <a:pt x="12501" y="17905"/>
                  </a:lnTo>
                  <a:lnTo>
                    <a:pt x="12501" y="17606"/>
                  </a:lnTo>
                  <a:lnTo>
                    <a:pt x="12785" y="17308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4" name="Google Shape;1904;p13"/>
            <p:cNvSpPr/>
            <p:nvPr/>
          </p:nvSpPr>
          <p:spPr>
            <a:xfrm>
              <a:off x="415828" y="7083041"/>
              <a:ext cx="15058" cy="8057"/>
            </a:xfrm>
            <a:custGeom>
              <a:avLst/>
              <a:gdLst/>
              <a:ahLst/>
              <a:cxnLst/>
              <a:rect l="l" t="t" r="r" b="b"/>
              <a:pathLst>
                <a:path w="15058" h="8057" extrusionOk="0">
                  <a:moveTo>
                    <a:pt x="10228" y="5073"/>
                  </a:moveTo>
                  <a:lnTo>
                    <a:pt x="6818" y="5073"/>
                  </a:lnTo>
                  <a:lnTo>
                    <a:pt x="3409" y="6565"/>
                  </a:lnTo>
                  <a:lnTo>
                    <a:pt x="0" y="8057"/>
                  </a:lnTo>
                  <a:lnTo>
                    <a:pt x="284" y="0"/>
                  </a:lnTo>
                  <a:lnTo>
                    <a:pt x="15058" y="0"/>
                  </a:lnTo>
                  <a:lnTo>
                    <a:pt x="12785" y="7758"/>
                  </a:lnTo>
                  <a:lnTo>
                    <a:pt x="10228" y="5073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5" name="Google Shape;1905;p13"/>
            <p:cNvSpPr/>
            <p:nvPr/>
          </p:nvSpPr>
          <p:spPr>
            <a:xfrm>
              <a:off x="459856" y="6971786"/>
              <a:ext cx="24150" cy="22978"/>
            </a:xfrm>
            <a:custGeom>
              <a:avLst/>
              <a:gdLst/>
              <a:ahLst/>
              <a:cxnLst/>
              <a:rect l="l" t="t" r="r" b="b"/>
              <a:pathLst>
                <a:path w="24150" h="22978" extrusionOk="0">
                  <a:moveTo>
                    <a:pt x="9892" y="5324"/>
                  </a:moveTo>
                  <a:lnTo>
                    <a:pt x="6983" y="5324"/>
                  </a:lnTo>
                  <a:lnTo>
                    <a:pt x="4655" y="7566"/>
                  </a:lnTo>
                  <a:lnTo>
                    <a:pt x="4655" y="10088"/>
                  </a:lnTo>
                  <a:lnTo>
                    <a:pt x="4946" y="13451"/>
                  </a:lnTo>
                  <a:lnTo>
                    <a:pt x="10183" y="17934"/>
                  </a:lnTo>
                  <a:lnTo>
                    <a:pt x="16585" y="17934"/>
                  </a:lnTo>
                  <a:lnTo>
                    <a:pt x="18912" y="15692"/>
                  </a:lnTo>
                  <a:lnTo>
                    <a:pt x="18912" y="9247"/>
                  </a:lnTo>
                  <a:lnTo>
                    <a:pt x="17167" y="0"/>
                  </a:lnTo>
                  <a:lnTo>
                    <a:pt x="24150" y="6445"/>
                  </a:lnTo>
                  <a:lnTo>
                    <a:pt x="24150" y="18214"/>
                  </a:lnTo>
                  <a:lnTo>
                    <a:pt x="19203" y="22978"/>
                  </a:lnTo>
                  <a:lnTo>
                    <a:pt x="6692" y="22978"/>
                  </a:lnTo>
                  <a:lnTo>
                    <a:pt x="0" y="16813"/>
                  </a:lnTo>
                  <a:lnTo>
                    <a:pt x="0" y="4763"/>
                  </a:lnTo>
                  <a:lnTo>
                    <a:pt x="4655" y="0"/>
                  </a:lnTo>
                  <a:lnTo>
                    <a:pt x="10474" y="0"/>
                  </a:lnTo>
                  <a:lnTo>
                    <a:pt x="9892" y="532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6" name="Google Shape;1906;p13"/>
            <p:cNvSpPr/>
            <p:nvPr/>
          </p:nvSpPr>
          <p:spPr>
            <a:xfrm>
              <a:off x="469749" y="6971786"/>
              <a:ext cx="9020" cy="9247"/>
            </a:xfrm>
            <a:custGeom>
              <a:avLst/>
              <a:gdLst/>
              <a:ahLst/>
              <a:cxnLst/>
              <a:rect l="l" t="t" r="r" b="b"/>
              <a:pathLst>
                <a:path w="9020" h="9247" extrusionOk="0">
                  <a:moveTo>
                    <a:pt x="4364" y="5324"/>
                  </a:moveTo>
                  <a:lnTo>
                    <a:pt x="0" y="5324"/>
                  </a:lnTo>
                  <a:lnTo>
                    <a:pt x="581" y="0"/>
                  </a:lnTo>
                  <a:lnTo>
                    <a:pt x="7274" y="0"/>
                  </a:lnTo>
                  <a:lnTo>
                    <a:pt x="9020" y="9247"/>
                  </a:lnTo>
                  <a:lnTo>
                    <a:pt x="4364" y="5324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7" name="Google Shape;1907;p13"/>
            <p:cNvSpPr/>
            <p:nvPr/>
          </p:nvSpPr>
          <p:spPr>
            <a:xfrm>
              <a:off x="473135" y="6952433"/>
              <a:ext cx="28980" cy="27816"/>
            </a:xfrm>
            <a:custGeom>
              <a:avLst/>
              <a:gdLst/>
              <a:ahLst/>
              <a:cxnLst/>
              <a:rect l="l" t="t" r="r" b="b"/>
              <a:pathLst>
                <a:path w="28980" h="27816" extrusionOk="0">
                  <a:moveTo>
                    <a:pt x="9091" y="7305"/>
                  </a:moveTo>
                  <a:lnTo>
                    <a:pt x="7103" y="8991"/>
                  </a:lnTo>
                  <a:lnTo>
                    <a:pt x="7103" y="11800"/>
                  </a:lnTo>
                  <a:lnTo>
                    <a:pt x="9376" y="14048"/>
                  </a:lnTo>
                  <a:lnTo>
                    <a:pt x="11933" y="16577"/>
                  </a:lnTo>
                  <a:lnTo>
                    <a:pt x="14774" y="19106"/>
                  </a:lnTo>
                  <a:lnTo>
                    <a:pt x="17615" y="21634"/>
                  </a:lnTo>
                  <a:lnTo>
                    <a:pt x="19604" y="23320"/>
                  </a:lnTo>
                  <a:lnTo>
                    <a:pt x="18467" y="24725"/>
                  </a:lnTo>
                  <a:lnTo>
                    <a:pt x="17331" y="26130"/>
                  </a:lnTo>
                  <a:lnTo>
                    <a:pt x="15910" y="27816"/>
                  </a:lnTo>
                  <a:lnTo>
                    <a:pt x="14774" y="26411"/>
                  </a:lnTo>
                  <a:lnTo>
                    <a:pt x="13921" y="25568"/>
                  </a:lnTo>
                  <a:lnTo>
                    <a:pt x="9944" y="21915"/>
                  </a:lnTo>
                  <a:lnTo>
                    <a:pt x="5682" y="17982"/>
                  </a:lnTo>
                  <a:lnTo>
                    <a:pt x="1988" y="14329"/>
                  </a:lnTo>
                  <a:lnTo>
                    <a:pt x="1136" y="13486"/>
                  </a:lnTo>
                  <a:lnTo>
                    <a:pt x="0" y="11800"/>
                  </a:lnTo>
                  <a:lnTo>
                    <a:pt x="284" y="10957"/>
                  </a:lnTo>
                  <a:lnTo>
                    <a:pt x="852" y="9834"/>
                  </a:lnTo>
                  <a:lnTo>
                    <a:pt x="2557" y="8991"/>
                  </a:lnTo>
                  <a:lnTo>
                    <a:pt x="3693" y="8148"/>
                  </a:lnTo>
                  <a:lnTo>
                    <a:pt x="4546" y="5338"/>
                  </a:lnTo>
                  <a:lnTo>
                    <a:pt x="5682" y="2809"/>
                  </a:lnTo>
                  <a:lnTo>
                    <a:pt x="8807" y="1123"/>
                  </a:lnTo>
                  <a:lnTo>
                    <a:pt x="11364" y="0"/>
                  </a:lnTo>
                  <a:lnTo>
                    <a:pt x="13921" y="281"/>
                  </a:lnTo>
                  <a:lnTo>
                    <a:pt x="16195" y="1966"/>
                  </a:lnTo>
                  <a:lnTo>
                    <a:pt x="19888" y="5338"/>
                  </a:lnTo>
                  <a:lnTo>
                    <a:pt x="23582" y="8710"/>
                  </a:lnTo>
                  <a:lnTo>
                    <a:pt x="27275" y="12081"/>
                  </a:lnTo>
                  <a:lnTo>
                    <a:pt x="28980" y="13486"/>
                  </a:lnTo>
                  <a:lnTo>
                    <a:pt x="28128" y="14329"/>
                  </a:lnTo>
                  <a:lnTo>
                    <a:pt x="26991" y="15734"/>
                  </a:lnTo>
                  <a:lnTo>
                    <a:pt x="25855" y="16858"/>
                  </a:lnTo>
                  <a:lnTo>
                    <a:pt x="25002" y="17139"/>
                  </a:lnTo>
                  <a:lnTo>
                    <a:pt x="23582" y="15734"/>
                  </a:lnTo>
                  <a:lnTo>
                    <a:pt x="20741" y="13205"/>
                  </a:lnTo>
                  <a:lnTo>
                    <a:pt x="17899" y="10677"/>
                  </a:lnTo>
                  <a:lnTo>
                    <a:pt x="15058" y="8148"/>
                  </a:lnTo>
                  <a:lnTo>
                    <a:pt x="12501" y="5619"/>
                  </a:lnTo>
                  <a:lnTo>
                    <a:pt x="10796" y="5619"/>
                  </a:lnTo>
                  <a:lnTo>
                    <a:pt x="9091" y="730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8" name="Google Shape;1908;p13"/>
            <p:cNvSpPr/>
            <p:nvPr/>
          </p:nvSpPr>
          <p:spPr>
            <a:xfrm>
              <a:off x="407942" y="7119326"/>
              <a:ext cx="25357" cy="19350"/>
            </a:xfrm>
            <a:custGeom>
              <a:avLst/>
              <a:gdLst/>
              <a:ahLst/>
              <a:cxnLst/>
              <a:rect l="l" t="t" r="r" b="b"/>
              <a:pathLst>
                <a:path w="25357" h="19350" extrusionOk="0">
                  <a:moveTo>
                    <a:pt x="24794" y="5122"/>
                  </a:moveTo>
                  <a:lnTo>
                    <a:pt x="23667" y="5691"/>
                  </a:lnTo>
                  <a:lnTo>
                    <a:pt x="18595" y="5691"/>
                  </a:lnTo>
                  <a:lnTo>
                    <a:pt x="14932" y="5406"/>
                  </a:lnTo>
                  <a:lnTo>
                    <a:pt x="11269" y="5691"/>
                  </a:lnTo>
                  <a:lnTo>
                    <a:pt x="7889" y="5691"/>
                  </a:lnTo>
                  <a:lnTo>
                    <a:pt x="6480" y="6829"/>
                  </a:lnTo>
                  <a:lnTo>
                    <a:pt x="6480" y="9390"/>
                  </a:lnTo>
                  <a:lnTo>
                    <a:pt x="6198" y="11951"/>
                  </a:lnTo>
                  <a:lnTo>
                    <a:pt x="8452" y="13943"/>
                  </a:lnTo>
                  <a:lnTo>
                    <a:pt x="11833" y="14228"/>
                  </a:lnTo>
                  <a:lnTo>
                    <a:pt x="24230" y="14228"/>
                  </a:lnTo>
                  <a:lnTo>
                    <a:pt x="25357" y="14512"/>
                  </a:lnTo>
                  <a:lnTo>
                    <a:pt x="25357" y="18781"/>
                  </a:lnTo>
                  <a:lnTo>
                    <a:pt x="24230" y="19350"/>
                  </a:lnTo>
                  <a:lnTo>
                    <a:pt x="22540" y="19350"/>
                  </a:lnTo>
                  <a:lnTo>
                    <a:pt x="19440" y="19065"/>
                  </a:lnTo>
                  <a:lnTo>
                    <a:pt x="16623" y="19350"/>
                  </a:lnTo>
                  <a:lnTo>
                    <a:pt x="5635" y="19350"/>
                  </a:lnTo>
                  <a:lnTo>
                    <a:pt x="2817" y="19065"/>
                  </a:lnTo>
                  <a:lnTo>
                    <a:pt x="1690" y="17643"/>
                  </a:lnTo>
                  <a:lnTo>
                    <a:pt x="2817" y="14797"/>
                  </a:lnTo>
                  <a:lnTo>
                    <a:pt x="3099" y="13943"/>
                  </a:lnTo>
                  <a:lnTo>
                    <a:pt x="3099" y="12805"/>
                  </a:lnTo>
                  <a:lnTo>
                    <a:pt x="2817" y="11951"/>
                  </a:lnTo>
                  <a:lnTo>
                    <a:pt x="0" y="7114"/>
                  </a:lnTo>
                  <a:lnTo>
                    <a:pt x="2253" y="0"/>
                  </a:lnTo>
                  <a:lnTo>
                    <a:pt x="9861" y="569"/>
                  </a:lnTo>
                  <a:lnTo>
                    <a:pt x="13805" y="853"/>
                  </a:lnTo>
                  <a:lnTo>
                    <a:pt x="18032" y="569"/>
                  </a:lnTo>
                  <a:lnTo>
                    <a:pt x="23948" y="569"/>
                  </a:lnTo>
                  <a:lnTo>
                    <a:pt x="24794" y="1138"/>
                  </a:lnTo>
                  <a:lnTo>
                    <a:pt x="24794" y="5122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9" name="Google Shape;1909;p13"/>
            <p:cNvSpPr/>
            <p:nvPr/>
          </p:nvSpPr>
          <p:spPr>
            <a:xfrm>
              <a:off x="400708" y="7104812"/>
              <a:ext cx="33809" cy="13303"/>
            </a:xfrm>
            <a:custGeom>
              <a:avLst/>
              <a:gdLst/>
              <a:ahLst/>
              <a:cxnLst/>
              <a:rect l="l" t="t" r="r" b="b"/>
              <a:pathLst>
                <a:path w="33809" h="13303" extrusionOk="0">
                  <a:moveTo>
                    <a:pt x="6467" y="9623"/>
                  </a:moveTo>
                  <a:lnTo>
                    <a:pt x="2057" y="9057"/>
                  </a:lnTo>
                  <a:lnTo>
                    <a:pt x="0" y="6227"/>
                  </a:lnTo>
                  <a:lnTo>
                    <a:pt x="1175" y="1981"/>
                  </a:lnTo>
                  <a:lnTo>
                    <a:pt x="1469" y="1132"/>
                  </a:lnTo>
                  <a:lnTo>
                    <a:pt x="2645" y="0"/>
                  </a:lnTo>
                  <a:lnTo>
                    <a:pt x="4115" y="0"/>
                  </a:lnTo>
                  <a:lnTo>
                    <a:pt x="4997" y="1132"/>
                  </a:lnTo>
                  <a:lnTo>
                    <a:pt x="5879" y="1981"/>
                  </a:lnTo>
                  <a:lnTo>
                    <a:pt x="5879" y="3113"/>
                  </a:lnTo>
                  <a:lnTo>
                    <a:pt x="6761" y="3679"/>
                  </a:lnTo>
                  <a:lnTo>
                    <a:pt x="7349" y="4245"/>
                  </a:lnTo>
                  <a:lnTo>
                    <a:pt x="8231" y="4528"/>
                  </a:lnTo>
                  <a:lnTo>
                    <a:pt x="8525" y="4528"/>
                  </a:lnTo>
                  <a:lnTo>
                    <a:pt x="9113" y="3396"/>
                  </a:lnTo>
                  <a:lnTo>
                    <a:pt x="9701" y="3113"/>
                  </a:lnTo>
                  <a:lnTo>
                    <a:pt x="10583" y="2264"/>
                  </a:lnTo>
                  <a:lnTo>
                    <a:pt x="11171" y="1132"/>
                  </a:lnTo>
                  <a:lnTo>
                    <a:pt x="12935" y="1132"/>
                  </a:lnTo>
                  <a:lnTo>
                    <a:pt x="14111" y="2264"/>
                  </a:lnTo>
                  <a:lnTo>
                    <a:pt x="14111" y="3113"/>
                  </a:lnTo>
                  <a:lnTo>
                    <a:pt x="14405" y="4811"/>
                  </a:lnTo>
                  <a:lnTo>
                    <a:pt x="15581" y="5094"/>
                  </a:lnTo>
                  <a:lnTo>
                    <a:pt x="17051" y="5094"/>
                  </a:lnTo>
                  <a:lnTo>
                    <a:pt x="21755" y="5377"/>
                  </a:lnTo>
                  <a:lnTo>
                    <a:pt x="26165" y="5661"/>
                  </a:lnTo>
                  <a:lnTo>
                    <a:pt x="30575" y="5661"/>
                  </a:lnTo>
                  <a:lnTo>
                    <a:pt x="32339" y="5944"/>
                  </a:lnTo>
                  <a:lnTo>
                    <a:pt x="33809" y="6227"/>
                  </a:lnTo>
                  <a:lnTo>
                    <a:pt x="33221" y="8208"/>
                  </a:lnTo>
                  <a:lnTo>
                    <a:pt x="33221" y="9906"/>
                  </a:lnTo>
                  <a:lnTo>
                    <a:pt x="32633" y="11605"/>
                  </a:lnTo>
                  <a:lnTo>
                    <a:pt x="29987" y="11038"/>
                  </a:lnTo>
                  <a:lnTo>
                    <a:pt x="26165" y="10755"/>
                  </a:lnTo>
                  <a:lnTo>
                    <a:pt x="22049" y="10472"/>
                  </a:lnTo>
                  <a:lnTo>
                    <a:pt x="17933" y="10189"/>
                  </a:lnTo>
                  <a:lnTo>
                    <a:pt x="16169" y="10189"/>
                  </a:lnTo>
                  <a:lnTo>
                    <a:pt x="14111" y="9623"/>
                  </a:lnTo>
                  <a:lnTo>
                    <a:pt x="13523" y="12454"/>
                  </a:lnTo>
                  <a:lnTo>
                    <a:pt x="13229" y="12737"/>
                  </a:lnTo>
                  <a:lnTo>
                    <a:pt x="12053" y="13303"/>
                  </a:lnTo>
                  <a:lnTo>
                    <a:pt x="10583" y="13303"/>
                  </a:lnTo>
                  <a:lnTo>
                    <a:pt x="9407" y="12454"/>
                  </a:lnTo>
                  <a:lnTo>
                    <a:pt x="9407" y="11888"/>
                  </a:lnTo>
                  <a:lnTo>
                    <a:pt x="9113" y="10189"/>
                  </a:lnTo>
                  <a:lnTo>
                    <a:pt x="7937" y="9906"/>
                  </a:lnTo>
                  <a:lnTo>
                    <a:pt x="6467" y="9623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0" name="Google Shape;1910;p13"/>
            <p:cNvSpPr/>
            <p:nvPr/>
          </p:nvSpPr>
          <p:spPr>
            <a:xfrm>
              <a:off x="438146" y="6994769"/>
              <a:ext cx="31394" cy="18141"/>
            </a:xfrm>
            <a:custGeom>
              <a:avLst/>
              <a:gdLst/>
              <a:ahLst/>
              <a:cxnLst/>
              <a:rect l="l" t="t" r="r" b="b"/>
              <a:pathLst>
                <a:path w="31394" h="18141" extrusionOk="0">
                  <a:moveTo>
                    <a:pt x="0" y="5102"/>
                  </a:moveTo>
                  <a:lnTo>
                    <a:pt x="1184" y="2834"/>
                  </a:lnTo>
                  <a:lnTo>
                    <a:pt x="2369" y="283"/>
                  </a:lnTo>
                  <a:lnTo>
                    <a:pt x="2961" y="0"/>
                  </a:lnTo>
                  <a:lnTo>
                    <a:pt x="5627" y="1700"/>
                  </a:lnTo>
                  <a:lnTo>
                    <a:pt x="7404" y="2551"/>
                  </a:lnTo>
                  <a:lnTo>
                    <a:pt x="8885" y="3684"/>
                  </a:lnTo>
                  <a:lnTo>
                    <a:pt x="10365" y="1417"/>
                  </a:lnTo>
                  <a:lnTo>
                    <a:pt x="10662" y="850"/>
                  </a:lnTo>
                  <a:lnTo>
                    <a:pt x="12143" y="566"/>
                  </a:lnTo>
                  <a:lnTo>
                    <a:pt x="12735" y="1133"/>
                  </a:lnTo>
                  <a:lnTo>
                    <a:pt x="13327" y="1417"/>
                  </a:lnTo>
                  <a:lnTo>
                    <a:pt x="14216" y="2834"/>
                  </a:lnTo>
                  <a:lnTo>
                    <a:pt x="13920" y="3401"/>
                  </a:lnTo>
                  <a:lnTo>
                    <a:pt x="12735" y="5669"/>
                  </a:lnTo>
                  <a:lnTo>
                    <a:pt x="13920" y="6519"/>
                  </a:lnTo>
                  <a:lnTo>
                    <a:pt x="15697" y="7369"/>
                  </a:lnTo>
                  <a:lnTo>
                    <a:pt x="18066" y="8787"/>
                  </a:lnTo>
                  <a:lnTo>
                    <a:pt x="20435" y="10204"/>
                  </a:lnTo>
                  <a:lnTo>
                    <a:pt x="22805" y="11621"/>
                  </a:lnTo>
                  <a:lnTo>
                    <a:pt x="24286" y="12472"/>
                  </a:lnTo>
                  <a:lnTo>
                    <a:pt x="25766" y="12755"/>
                  </a:lnTo>
                  <a:lnTo>
                    <a:pt x="26951" y="11054"/>
                  </a:lnTo>
                  <a:lnTo>
                    <a:pt x="27247" y="10487"/>
                  </a:lnTo>
                  <a:lnTo>
                    <a:pt x="28728" y="10204"/>
                  </a:lnTo>
                  <a:lnTo>
                    <a:pt x="29321" y="10487"/>
                  </a:lnTo>
                  <a:lnTo>
                    <a:pt x="29913" y="11054"/>
                  </a:lnTo>
                  <a:lnTo>
                    <a:pt x="31098" y="11905"/>
                  </a:lnTo>
                  <a:lnTo>
                    <a:pt x="31098" y="12472"/>
                  </a:lnTo>
                  <a:lnTo>
                    <a:pt x="31394" y="15023"/>
                  </a:lnTo>
                  <a:lnTo>
                    <a:pt x="27543" y="18141"/>
                  </a:lnTo>
                  <a:lnTo>
                    <a:pt x="23989" y="18141"/>
                  </a:lnTo>
                  <a:lnTo>
                    <a:pt x="23101" y="17574"/>
                  </a:lnTo>
                  <a:lnTo>
                    <a:pt x="21324" y="17007"/>
                  </a:lnTo>
                  <a:lnTo>
                    <a:pt x="19843" y="16157"/>
                  </a:lnTo>
                  <a:lnTo>
                    <a:pt x="17177" y="14739"/>
                  </a:lnTo>
                  <a:lnTo>
                    <a:pt x="14808" y="13039"/>
                  </a:lnTo>
                  <a:lnTo>
                    <a:pt x="12143" y="11621"/>
                  </a:lnTo>
                  <a:lnTo>
                    <a:pt x="10958" y="10771"/>
                  </a:lnTo>
                  <a:lnTo>
                    <a:pt x="9773" y="10204"/>
                  </a:lnTo>
                  <a:lnTo>
                    <a:pt x="8885" y="11905"/>
                  </a:lnTo>
                  <a:lnTo>
                    <a:pt x="8589" y="12472"/>
                  </a:lnTo>
                  <a:lnTo>
                    <a:pt x="7108" y="12472"/>
                  </a:lnTo>
                  <a:lnTo>
                    <a:pt x="6515" y="12188"/>
                  </a:lnTo>
                  <a:lnTo>
                    <a:pt x="5627" y="11905"/>
                  </a:lnTo>
                  <a:lnTo>
                    <a:pt x="4738" y="10487"/>
                  </a:lnTo>
                  <a:lnTo>
                    <a:pt x="5034" y="10204"/>
                  </a:lnTo>
                  <a:lnTo>
                    <a:pt x="6219" y="7653"/>
                  </a:lnTo>
                  <a:lnTo>
                    <a:pt x="4146" y="7086"/>
                  </a:lnTo>
                  <a:lnTo>
                    <a:pt x="2961" y="6236"/>
                  </a:lnTo>
                  <a:lnTo>
                    <a:pt x="1777" y="5385"/>
                  </a:lnTo>
                  <a:lnTo>
                    <a:pt x="0" y="5102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1" name="Google Shape;1911;p13"/>
            <p:cNvSpPr/>
            <p:nvPr/>
          </p:nvSpPr>
          <p:spPr>
            <a:xfrm>
              <a:off x="401918" y="7141097"/>
              <a:ext cx="32601" cy="8465"/>
            </a:xfrm>
            <a:custGeom>
              <a:avLst/>
              <a:gdLst/>
              <a:ahLst/>
              <a:cxnLst/>
              <a:rect l="l" t="t" r="r" b="b"/>
              <a:pathLst>
                <a:path w="32601" h="8465" extrusionOk="0">
                  <a:moveTo>
                    <a:pt x="0" y="5139"/>
                  </a:moveTo>
                  <a:lnTo>
                    <a:pt x="0" y="3325"/>
                  </a:lnTo>
                  <a:lnTo>
                    <a:pt x="873" y="2116"/>
                  </a:lnTo>
                  <a:lnTo>
                    <a:pt x="2910" y="2116"/>
                  </a:lnTo>
                  <a:lnTo>
                    <a:pt x="15581" y="1229"/>
                  </a:lnTo>
                  <a:lnTo>
                    <a:pt x="28242" y="342"/>
                  </a:lnTo>
                  <a:lnTo>
                    <a:pt x="28817" y="302"/>
                  </a:lnTo>
                  <a:lnTo>
                    <a:pt x="30855" y="0"/>
                  </a:lnTo>
                  <a:lnTo>
                    <a:pt x="32019" y="907"/>
                  </a:lnTo>
                  <a:lnTo>
                    <a:pt x="32310" y="3023"/>
                  </a:lnTo>
                  <a:lnTo>
                    <a:pt x="32601" y="5442"/>
                  </a:lnTo>
                  <a:lnTo>
                    <a:pt x="31728" y="6047"/>
                  </a:lnTo>
                  <a:lnTo>
                    <a:pt x="29690" y="6047"/>
                  </a:lnTo>
                  <a:lnTo>
                    <a:pt x="17026" y="7043"/>
                  </a:lnTo>
                  <a:lnTo>
                    <a:pt x="4383" y="8062"/>
                  </a:lnTo>
                  <a:lnTo>
                    <a:pt x="2910" y="8163"/>
                  </a:lnTo>
                  <a:lnTo>
                    <a:pt x="582" y="8465"/>
                  </a:lnTo>
                  <a:lnTo>
                    <a:pt x="0" y="7256"/>
                  </a:lnTo>
                  <a:lnTo>
                    <a:pt x="0" y="5139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2" name="Google Shape;1912;p13"/>
            <p:cNvSpPr/>
            <p:nvPr/>
          </p:nvSpPr>
          <p:spPr>
            <a:xfrm>
              <a:off x="415180" y="7064898"/>
              <a:ext cx="24150" cy="18140"/>
            </a:xfrm>
            <a:custGeom>
              <a:avLst/>
              <a:gdLst/>
              <a:ahLst/>
              <a:cxnLst/>
              <a:rect l="l" t="t" r="r" b="b"/>
              <a:pathLst>
                <a:path w="24150" h="18140" extrusionOk="0">
                  <a:moveTo>
                    <a:pt x="11486" y="9655"/>
                  </a:moveTo>
                  <a:lnTo>
                    <a:pt x="14725" y="10825"/>
                  </a:lnTo>
                  <a:lnTo>
                    <a:pt x="18259" y="11411"/>
                  </a:lnTo>
                  <a:lnTo>
                    <a:pt x="21499" y="12288"/>
                  </a:lnTo>
                  <a:lnTo>
                    <a:pt x="23266" y="12581"/>
                  </a:lnTo>
                  <a:lnTo>
                    <a:pt x="24150" y="13166"/>
                  </a:lnTo>
                  <a:lnTo>
                    <a:pt x="23855" y="15214"/>
                  </a:lnTo>
                  <a:lnTo>
                    <a:pt x="23266" y="17262"/>
                  </a:lnTo>
                  <a:lnTo>
                    <a:pt x="22677" y="18140"/>
                  </a:lnTo>
                  <a:lnTo>
                    <a:pt x="20321" y="17555"/>
                  </a:lnTo>
                  <a:lnTo>
                    <a:pt x="14725" y="16092"/>
                  </a:lnTo>
                  <a:lnTo>
                    <a:pt x="8835" y="14922"/>
                  </a:lnTo>
                  <a:lnTo>
                    <a:pt x="3239" y="13459"/>
                  </a:lnTo>
                  <a:lnTo>
                    <a:pt x="1767" y="13166"/>
                  </a:lnTo>
                  <a:lnTo>
                    <a:pt x="0" y="13459"/>
                  </a:lnTo>
                  <a:lnTo>
                    <a:pt x="294" y="11118"/>
                  </a:lnTo>
                  <a:lnTo>
                    <a:pt x="589" y="9655"/>
                  </a:lnTo>
                  <a:lnTo>
                    <a:pt x="589" y="7607"/>
                  </a:lnTo>
                  <a:lnTo>
                    <a:pt x="2945" y="8192"/>
                  </a:lnTo>
                  <a:lnTo>
                    <a:pt x="2356" y="6144"/>
                  </a:lnTo>
                  <a:lnTo>
                    <a:pt x="1767" y="4388"/>
                  </a:lnTo>
                  <a:lnTo>
                    <a:pt x="1767" y="877"/>
                  </a:lnTo>
                  <a:lnTo>
                    <a:pt x="2650" y="0"/>
                  </a:lnTo>
                  <a:lnTo>
                    <a:pt x="4712" y="292"/>
                  </a:lnTo>
                  <a:lnTo>
                    <a:pt x="6479" y="877"/>
                  </a:lnTo>
                  <a:lnTo>
                    <a:pt x="7951" y="877"/>
                  </a:lnTo>
                  <a:lnTo>
                    <a:pt x="7362" y="3511"/>
                  </a:lnTo>
                  <a:lnTo>
                    <a:pt x="6479" y="6144"/>
                  </a:lnTo>
                  <a:lnTo>
                    <a:pt x="8246" y="8777"/>
                  </a:lnTo>
                  <a:lnTo>
                    <a:pt x="11486" y="965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3" name="Google Shape;1913;p13"/>
            <p:cNvSpPr/>
            <p:nvPr/>
          </p:nvSpPr>
          <p:spPr>
            <a:xfrm>
              <a:off x="451419" y="6988720"/>
              <a:ext cx="21734" cy="16931"/>
            </a:xfrm>
            <a:custGeom>
              <a:avLst/>
              <a:gdLst/>
              <a:ahLst/>
              <a:cxnLst/>
              <a:rect l="l" t="t" r="r" b="b"/>
              <a:pathLst>
                <a:path w="21734" h="16931" extrusionOk="0">
                  <a:moveTo>
                    <a:pt x="6375" y="8896"/>
                  </a:moveTo>
                  <a:lnTo>
                    <a:pt x="1159" y="5165"/>
                  </a:lnTo>
                  <a:lnTo>
                    <a:pt x="579" y="4878"/>
                  </a:lnTo>
                  <a:lnTo>
                    <a:pt x="0" y="3443"/>
                  </a:lnTo>
                  <a:lnTo>
                    <a:pt x="289" y="2869"/>
                  </a:lnTo>
                  <a:lnTo>
                    <a:pt x="579" y="1721"/>
                  </a:lnTo>
                  <a:lnTo>
                    <a:pt x="1448" y="860"/>
                  </a:lnTo>
                  <a:lnTo>
                    <a:pt x="2318" y="0"/>
                  </a:lnTo>
                  <a:lnTo>
                    <a:pt x="3187" y="287"/>
                  </a:lnTo>
                  <a:lnTo>
                    <a:pt x="3767" y="573"/>
                  </a:lnTo>
                  <a:lnTo>
                    <a:pt x="4346" y="1147"/>
                  </a:lnTo>
                  <a:lnTo>
                    <a:pt x="9563" y="4304"/>
                  </a:lnTo>
                  <a:lnTo>
                    <a:pt x="14489" y="7748"/>
                  </a:lnTo>
                  <a:lnTo>
                    <a:pt x="19706" y="10905"/>
                  </a:lnTo>
                  <a:lnTo>
                    <a:pt x="21444" y="12053"/>
                  </a:lnTo>
                  <a:lnTo>
                    <a:pt x="21734" y="12914"/>
                  </a:lnTo>
                  <a:lnTo>
                    <a:pt x="20575" y="14349"/>
                  </a:lnTo>
                  <a:lnTo>
                    <a:pt x="19416" y="16070"/>
                  </a:lnTo>
                  <a:lnTo>
                    <a:pt x="18546" y="16931"/>
                  </a:lnTo>
                  <a:lnTo>
                    <a:pt x="16518" y="15496"/>
                  </a:lnTo>
                  <a:lnTo>
                    <a:pt x="11591" y="12053"/>
                  </a:lnTo>
                  <a:lnTo>
                    <a:pt x="6375" y="8896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4" name="Google Shape;1914;p13"/>
            <p:cNvSpPr/>
            <p:nvPr/>
          </p:nvSpPr>
          <p:spPr>
            <a:xfrm>
              <a:off x="444180" y="6982672"/>
              <a:ext cx="6037" cy="7256"/>
            </a:xfrm>
            <a:custGeom>
              <a:avLst/>
              <a:gdLst/>
              <a:ahLst/>
              <a:cxnLst/>
              <a:rect l="l" t="t" r="r" b="b"/>
              <a:pathLst>
                <a:path w="6037" h="7256" extrusionOk="0">
                  <a:moveTo>
                    <a:pt x="274" y="4535"/>
                  </a:moveTo>
                  <a:lnTo>
                    <a:pt x="0" y="3325"/>
                  </a:lnTo>
                  <a:lnTo>
                    <a:pt x="1646" y="1814"/>
                  </a:lnTo>
                  <a:lnTo>
                    <a:pt x="2469" y="0"/>
                  </a:lnTo>
                  <a:lnTo>
                    <a:pt x="4116" y="1511"/>
                  </a:lnTo>
                  <a:lnTo>
                    <a:pt x="5762" y="2721"/>
                  </a:lnTo>
                  <a:lnTo>
                    <a:pt x="6037" y="3930"/>
                  </a:lnTo>
                  <a:lnTo>
                    <a:pt x="6037" y="5140"/>
                  </a:lnTo>
                  <a:lnTo>
                    <a:pt x="4390" y="7256"/>
                  </a:lnTo>
                  <a:lnTo>
                    <a:pt x="2469" y="7256"/>
                  </a:lnTo>
                  <a:lnTo>
                    <a:pt x="548" y="5744"/>
                  </a:lnTo>
                  <a:lnTo>
                    <a:pt x="274" y="453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5" name="Google Shape;1915;p13"/>
            <p:cNvSpPr/>
            <p:nvPr/>
          </p:nvSpPr>
          <p:spPr>
            <a:xfrm>
              <a:off x="596322" y="6877454"/>
              <a:ext cx="6037" cy="7256"/>
            </a:xfrm>
            <a:custGeom>
              <a:avLst/>
              <a:gdLst/>
              <a:ahLst/>
              <a:cxnLst/>
              <a:rect l="l" t="t" r="r" b="b"/>
              <a:pathLst>
                <a:path w="6037" h="7256" extrusionOk="0">
                  <a:moveTo>
                    <a:pt x="2299" y="302"/>
                  </a:moveTo>
                  <a:lnTo>
                    <a:pt x="3449" y="302"/>
                  </a:lnTo>
                  <a:lnTo>
                    <a:pt x="6037" y="0"/>
                  </a:lnTo>
                  <a:lnTo>
                    <a:pt x="5749" y="2721"/>
                  </a:lnTo>
                  <a:lnTo>
                    <a:pt x="5749" y="3930"/>
                  </a:lnTo>
                  <a:lnTo>
                    <a:pt x="5462" y="5140"/>
                  </a:lnTo>
                  <a:lnTo>
                    <a:pt x="3737" y="5744"/>
                  </a:lnTo>
                  <a:lnTo>
                    <a:pt x="2012" y="7256"/>
                  </a:lnTo>
                  <a:lnTo>
                    <a:pt x="1150" y="5140"/>
                  </a:lnTo>
                  <a:lnTo>
                    <a:pt x="287" y="3930"/>
                  </a:lnTo>
                  <a:lnTo>
                    <a:pt x="0" y="2418"/>
                  </a:lnTo>
                  <a:lnTo>
                    <a:pt x="0" y="0"/>
                  </a:lnTo>
                  <a:lnTo>
                    <a:pt x="2299" y="302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6" name="Google Shape;1916;p13"/>
            <p:cNvSpPr/>
            <p:nvPr/>
          </p:nvSpPr>
          <p:spPr>
            <a:xfrm>
              <a:off x="735699" y="7073431"/>
              <a:ext cx="56235" cy="73846"/>
            </a:xfrm>
            <a:custGeom>
              <a:avLst/>
              <a:gdLst/>
              <a:ahLst/>
              <a:cxnLst/>
              <a:rect l="l" t="t" r="r" b="b"/>
              <a:pathLst>
                <a:path w="56235" h="73846" extrusionOk="0">
                  <a:moveTo>
                    <a:pt x="54691" y="22414"/>
                  </a:moveTo>
                  <a:lnTo>
                    <a:pt x="54787" y="22914"/>
                  </a:lnTo>
                  <a:lnTo>
                    <a:pt x="55655" y="27541"/>
                  </a:lnTo>
                  <a:lnTo>
                    <a:pt x="55945" y="32458"/>
                  </a:lnTo>
                  <a:lnTo>
                    <a:pt x="56235" y="36796"/>
                  </a:lnTo>
                  <a:lnTo>
                    <a:pt x="55945" y="42001"/>
                  </a:lnTo>
                  <a:lnTo>
                    <a:pt x="55366" y="46628"/>
                  </a:lnTo>
                  <a:lnTo>
                    <a:pt x="55076" y="51256"/>
                  </a:lnTo>
                  <a:lnTo>
                    <a:pt x="50247" y="63609"/>
                  </a:lnTo>
                  <a:lnTo>
                    <a:pt x="39664" y="71452"/>
                  </a:lnTo>
                  <a:lnTo>
                    <a:pt x="38862" y="71789"/>
                  </a:lnTo>
                  <a:lnTo>
                    <a:pt x="26844" y="73846"/>
                  </a:lnTo>
                  <a:lnTo>
                    <a:pt x="14768" y="70966"/>
                  </a:lnTo>
                  <a:lnTo>
                    <a:pt x="6722" y="65427"/>
                  </a:lnTo>
                  <a:lnTo>
                    <a:pt x="2958" y="61667"/>
                  </a:lnTo>
                  <a:lnTo>
                    <a:pt x="931" y="56751"/>
                  </a:lnTo>
                  <a:lnTo>
                    <a:pt x="642" y="51545"/>
                  </a:lnTo>
                  <a:lnTo>
                    <a:pt x="0" y="38897"/>
                  </a:lnTo>
                  <a:lnTo>
                    <a:pt x="515" y="26233"/>
                  </a:lnTo>
                  <a:lnTo>
                    <a:pt x="642" y="25228"/>
                  </a:lnTo>
                  <a:lnTo>
                    <a:pt x="5387" y="11187"/>
                  </a:lnTo>
                  <a:lnTo>
                    <a:pt x="14309" y="2971"/>
                  </a:lnTo>
                  <a:lnTo>
                    <a:pt x="25792" y="0"/>
                  </a:lnTo>
                  <a:lnTo>
                    <a:pt x="38222" y="1693"/>
                  </a:lnTo>
                  <a:lnTo>
                    <a:pt x="39441" y="2091"/>
                  </a:lnTo>
                  <a:lnTo>
                    <a:pt x="49913" y="10028"/>
                  </a:lnTo>
                  <a:lnTo>
                    <a:pt x="54691" y="22414"/>
                  </a:lnTo>
                  <a:close/>
                </a:path>
              </a:pathLst>
            </a:custGeom>
            <a:solidFill>
              <a:srgbClr val="CECFC8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7" name="Google Shape;1917;p13"/>
            <p:cNvSpPr/>
            <p:nvPr/>
          </p:nvSpPr>
          <p:spPr>
            <a:xfrm>
              <a:off x="701361" y="7051578"/>
              <a:ext cx="125007" cy="120254"/>
            </a:xfrm>
            <a:custGeom>
              <a:avLst/>
              <a:gdLst/>
              <a:ahLst/>
              <a:cxnLst/>
              <a:rect l="l" t="t" r="r" b="b"/>
              <a:pathLst>
                <a:path w="125007" h="120254" extrusionOk="0">
                  <a:moveTo>
                    <a:pt x="4610" y="83141"/>
                  </a:moveTo>
                  <a:lnTo>
                    <a:pt x="1440" y="75045"/>
                  </a:lnTo>
                  <a:lnTo>
                    <a:pt x="0" y="66660"/>
                  </a:lnTo>
                  <a:lnTo>
                    <a:pt x="288" y="59431"/>
                  </a:lnTo>
                  <a:lnTo>
                    <a:pt x="1277" y="45907"/>
                  </a:lnTo>
                  <a:lnTo>
                    <a:pt x="4783" y="33805"/>
                  </a:lnTo>
                  <a:lnTo>
                    <a:pt x="10806" y="22861"/>
                  </a:lnTo>
                  <a:lnTo>
                    <a:pt x="21608" y="11275"/>
                  </a:lnTo>
                  <a:lnTo>
                    <a:pt x="32290" y="4363"/>
                  </a:lnTo>
                  <a:lnTo>
                    <a:pt x="44437" y="0"/>
                  </a:lnTo>
                  <a:lnTo>
                    <a:pt x="50028" y="24545"/>
                  </a:lnTo>
                  <a:lnTo>
                    <a:pt x="40822" y="32275"/>
                  </a:lnTo>
                  <a:lnTo>
                    <a:pt x="35650" y="45806"/>
                  </a:lnTo>
                  <a:lnTo>
                    <a:pt x="35443" y="47287"/>
                  </a:lnTo>
                  <a:lnTo>
                    <a:pt x="34787" y="59936"/>
                  </a:lnTo>
                  <a:lnTo>
                    <a:pt x="35377" y="72600"/>
                  </a:lnTo>
                  <a:lnTo>
                    <a:pt x="35443" y="73599"/>
                  </a:lnTo>
                  <a:lnTo>
                    <a:pt x="35731" y="78804"/>
                  </a:lnTo>
                  <a:lnTo>
                    <a:pt x="37748" y="83719"/>
                  </a:lnTo>
                  <a:lnTo>
                    <a:pt x="41494" y="87478"/>
                  </a:lnTo>
                  <a:lnTo>
                    <a:pt x="51911" y="94011"/>
                  </a:lnTo>
                  <a:lnTo>
                    <a:pt x="64164" y="95884"/>
                  </a:lnTo>
                  <a:lnTo>
                    <a:pt x="73479" y="93839"/>
                  </a:lnTo>
                  <a:lnTo>
                    <a:pt x="84347" y="86236"/>
                  </a:lnTo>
                  <a:lnTo>
                    <a:pt x="89512" y="74130"/>
                  </a:lnTo>
                  <a:lnTo>
                    <a:pt x="89616" y="73310"/>
                  </a:lnTo>
                  <a:lnTo>
                    <a:pt x="89904" y="68684"/>
                  </a:lnTo>
                  <a:lnTo>
                    <a:pt x="90481" y="64057"/>
                  </a:lnTo>
                  <a:lnTo>
                    <a:pt x="90769" y="58853"/>
                  </a:lnTo>
                  <a:lnTo>
                    <a:pt x="90481" y="54516"/>
                  </a:lnTo>
                  <a:lnTo>
                    <a:pt x="90192" y="49600"/>
                  </a:lnTo>
                  <a:lnTo>
                    <a:pt x="89328" y="44974"/>
                  </a:lnTo>
                  <a:lnTo>
                    <a:pt x="84726" y="32466"/>
                  </a:lnTo>
                  <a:lnTo>
                    <a:pt x="74515" y="24315"/>
                  </a:lnTo>
                  <a:lnTo>
                    <a:pt x="85190" y="1099"/>
                  </a:lnTo>
                  <a:lnTo>
                    <a:pt x="92210" y="3915"/>
                  </a:lnTo>
                  <a:lnTo>
                    <a:pt x="103500" y="10795"/>
                  </a:lnTo>
                  <a:lnTo>
                    <a:pt x="112452" y="19880"/>
                  </a:lnTo>
                  <a:lnTo>
                    <a:pt x="119066" y="31029"/>
                  </a:lnTo>
                  <a:lnTo>
                    <a:pt x="120737" y="35143"/>
                  </a:lnTo>
                  <a:lnTo>
                    <a:pt x="123967" y="47531"/>
                  </a:lnTo>
                  <a:lnTo>
                    <a:pt x="125007" y="59925"/>
                  </a:lnTo>
                  <a:lnTo>
                    <a:pt x="123812" y="72230"/>
                  </a:lnTo>
                  <a:lnTo>
                    <a:pt x="120334" y="84355"/>
                  </a:lnTo>
                  <a:lnTo>
                    <a:pt x="112500" y="98378"/>
                  </a:lnTo>
                  <a:lnTo>
                    <a:pt x="103466" y="107438"/>
                  </a:lnTo>
                  <a:lnTo>
                    <a:pt x="92365" y="114080"/>
                  </a:lnTo>
                  <a:lnTo>
                    <a:pt x="83565" y="117260"/>
                  </a:lnTo>
                  <a:lnTo>
                    <a:pt x="71015" y="119731"/>
                  </a:lnTo>
                  <a:lnTo>
                    <a:pt x="58646" y="120254"/>
                  </a:lnTo>
                  <a:lnTo>
                    <a:pt x="46457" y="118601"/>
                  </a:lnTo>
                  <a:lnTo>
                    <a:pt x="34449" y="114545"/>
                  </a:lnTo>
                  <a:lnTo>
                    <a:pt x="29968" y="112345"/>
                  </a:lnTo>
                  <a:lnTo>
                    <a:pt x="19247" y="104903"/>
                  </a:lnTo>
                  <a:lnTo>
                    <a:pt x="10889" y="95276"/>
                  </a:lnTo>
                  <a:lnTo>
                    <a:pt x="4831" y="83708"/>
                  </a:lnTo>
                  <a:lnTo>
                    <a:pt x="4610" y="831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8" name="Google Shape;1918;p13"/>
            <p:cNvSpPr/>
            <p:nvPr/>
          </p:nvSpPr>
          <p:spPr>
            <a:xfrm>
              <a:off x="745798" y="7049369"/>
              <a:ext cx="40753" cy="26753"/>
            </a:xfrm>
            <a:custGeom>
              <a:avLst/>
              <a:gdLst/>
              <a:ahLst/>
              <a:cxnLst/>
              <a:rect l="l" t="t" r="r" b="b"/>
              <a:pathLst>
                <a:path w="40753" h="26753" extrusionOk="0">
                  <a:moveTo>
                    <a:pt x="0" y="2208"/>
                  </a:moveTo>
                  <a:lnTo>
                    <a:pt x="3396" y="1497"/>
                  </a:lnTo>
                  <a:lnTo>
                    <a:pt x="16083" y="0"/>
                  </a:lnTo>
                  <a:lnTo>
                    <a:pt x="28560" y="515"/>
                  </a:lnTo>
                  <a:lnTo>
                    <a:pt x="40753" y="3308"/>
                  </a:lnTo>
                  <a:lnTo>
                    <a:pt x="30078" y="26523"/>
                  </a:lnTo>
                  <a:lnTo>
                    <a:pt x="29619" y="26364"/>
                  </a:lnTo>
                  <a:lnTo>
                    <a:pt x="17208" y="24242"/>
                  </a:lnTo>
                  <a:lnTo>
                    <a:pt x="5591" y="26753"/>
                  </a:lnTo>
                  <a:lnTo>
                    <a:pt x="0" y="220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9" name="Google Shape;1919;p13"/>
            <p:cNvSpPr/>
            <p:nvPr/>
          </p:nvSpPr>
          <p:spPr>
            <a:xfrm>
              <a:off x="590856" y="7050977"/>
              <a:ext cx="106379" cy="119178"/>
            </a:xfrm>
            <a:custGeom>
              <a:avLst/>
              <a:gdLst/>
              <a:ahLst/>
              <a:cxnLst/>
              <a:rect l="l" t="t" r="r" b="b"/>
              <a:pathLst>
                <a:path w="106379" h="119178" extrusionOk="0">
                  <a:moveTo>
                    <a:pt x="80573" y="2221"/>
                  </a:moveTo>
                  <a:lnTo>
                    <a:pt x="102651" y="2221"/>
                  </a:lnTo>
                  <a:lnTo>
                    <a:pt x="103512" y="2793"/>
                  </a:lnTo>
                  <a:lnTo>
                    <a:pt x="103512" y="38265"/>
                  </a:lnTo>
                  <a:lnTo>
                    <a:pt x="102651" y="39124"/>
                  </a:lnTo>
                  <a:lnTo>
                    <a:pt x="100644" y="39124"/>
                  </a:lnTo>
                  <a:lnTo>
                    <a:pt x="94623" y="38838"/>
                  </a:lnTo>
                  <a:lnTo>
                    <a:pt x="88888" y="38838"/>
                  </a:lnTo>
                  <a:lnTo>
                    <a:pt x="83153" y="39124"/>
                  </a:lnTo>
                  <a:lnTo>
                    <a:pt x="81146" y="39124"/>
                  </a:lnTo>
                  <a:lnTo>
                    <a:pt x="79712" y="38265"/>
                  </a:lnTo>
                  <a:lnTo>
                    <a:pt x="78852" y="36549"/>
                  </a:lnTo>
                  <a:lnTo>
                    <a:pt x="75698" y="31400"/>
                  </a:lnTo>
                  <a:lnTo>
                    <a:pt x="72257" y="26537"/>
                  </a:lnTo>
                  <a:lnTo>
                    <a:pt x="67096" y="23390"/>
                  </a:lnTo>
                  <a:lnTo>
                    <a:pt x="60788" y="19099"/>
                  </a:lnTo>
                  <a:lnTo>
                    <a:pt x="53619" y="17668"/>
                  </a:lnTo>
                  <a:lnTo>
                    <a:pt x="46164" y="18527"/>
                  </a:lnTo>
                  <a:lnTo>
                    <a:pt x="43297" y="18813"/>
                  </a:lnTo>
                  <a:lnTo>
                    <a:pt x="40716" y="19099"/>
                  </a:lnTo>
                  <a:lnTo>
                    <a:pt x="38136" y="19671"/>
                  </a:lnTo>
                  <a:lnTo>
                    <a:pt x="34121" y="20815"/>
                  </a:lnTo>
                  <a:lnTo>
                    <a:pt x="30967" y="22818"/>
                  </a:lnTo>
                  <a:lnTo>
                    <a:pt x="30394" y="27109"/>
                  </a:lnTo>
                  <a:lnTo>
                    <a:pt x="29533" y="32544"/>
                  </a:lnTo>
                  <a:lnTo>
                    <a:pt x="31541" y="36835"/>
                  </a:lnTo>
                  <a:lnTo>
                    <a:pt x="35842" y="39410"/>
                  </a:lnTo>
                  <a:lnTo>
                    <a:pt x="41290" y="42270"/>
                  </a:lnTo>
                  <a:lnTo>
                    <a:pt x="47311" y="43415"/>
                  </a:lnTo>
                  <a:lnTo>
                    <a:pt x="53333" y="43987"/>
                  </a:lnTo>
                  <a:lnTo>
                    <a:pt x="66019" y="45516"/>
                  </a:lnTo>
                  <a:lnTo>
                    <a:pt x="78335" y="48567"/>
                  </a:lnTo>
                  <a:lnTo>
                    <a:pt x="84874" y="51139"/>
                  </a:lnTo>
                  <a:lnTo>
                    <a:pt x="96093" y="58274"/>
                  </a:lnTo>
                  <a:lnTo>
                    <a:pt x="103885" y="68412"/>
                  </a:lnTo>
                  <a:lnTo>
                    <a:pt x="106379" y="76599"/>
                  </a:lnTo>
                  <a:lnTo>
                    <a:pt x="106275" y="89243"/>
                  </a:lnTo>
                  <a:lnTo>
                    <a:pt x="101285" y="100537"/>
                  </a:lnTo>
                  <a:lnTo>
                    <a:pt x="99211" y="103203"/>
                  </a:lnTo>
                  <a:lnTo>
                    <a:pt x="89276" y="112122"/>
                  </a:lnTo>
                  <a:lnTo>
                    <a:pt x="77925" y="117262"/>
                  </a:lnTo>
                  <a:lnTo>
                    <a:pt x="65399" y="119178"/>
                  </a:lnTo>
                  <a:lnTo>
                    <a:pt x="56487" y="118937"/>
                  </a:lnTo>
                  <a:lnTo>
                    <a:pt x="43793" y="116069"/>
                  </a:lnTo>
                  <a:lnTo>
                    <a:pt x="32497" y="110196"/>
                  </a:lnTo>
                  <a:lnTo>
                    <a:pt x="26666" y="105492"/>
                  </a:lnTo>
                  <a:lnTo>
                    <a:pt x="26379" y="105206"/>
                  </a:lnTo>
                  <a:lnTo>
                    <a:pt x="25806" y="104920"/>
                  </a:lnTo>
                  <a:lnTo>
                    <a:pt x="24659" y="104348"/>
                  </a:lnTo>
                  <a:lnTo>
                    <a:pt x="24659" y="110927"/>
                  </a:lnTo>
                  <a:lnTo>
                    <a:pt x="24946" y="113788"/>
                  </a:lnTo>
                  <a:lnTo>
                    <a:pt x="24946" y="116076"/>
                  </a:lnTo>
                  <a:lnTo>
                    <a:pt x="24085" y="116935"/>
                  </a:lnTo>
                  <a:lnTo>
                    <a:pt x="860" y="116935"/>
                  </a:lnTo>
                  <a:lnTo>
                    <a:pt x="0" y="116362"/>
                  </a:lnTo>
                  <a:lnTo>
                    <a:pt x="0" y="77171"/>
                  </a:lnTo>
                  <a:lnTo>
                    <a:pt x="860" y="76313"/>
                  </a:lnTo>
                  <a:lnTo>
                    <a:pt x="23799" y="76313"/>
                  </a:lnTo>
                  <a:lnTo>
                    <a:pt x="24946" y="77171"/>
                  </a:lnTo>
                  <a:lnTo>
                    <a:pt x="25806" y="78887"/>
                  </a:lnTo>
                  <a:lnTo>
                    <a:pt x="33789" y="89515"/>
                  </a:lnTo>
                  <a:lnTo>
                    <a:pt x="44852" y="95939"/>
                  </a:lnTo>
                  <a:lnTo>
                    <a:pt x="51899" y="97482"/>
                  </a:lnTo>
                  <a:lnTo>
                    <a:pt x="59354" y="98340"/>
                  </a:lnTo>
                  <a:lnTo>
                    <a:pt x="66809" y="98054"/>
                  </a:lnTo>
                  <a:lnTo>
                    <a:pt x="73978" y="94049"/>
                  </a:lnTo>
                  <a:lnTo>
                    <a:pt x="80438" y="84554"/>
                  </a:lnTo>
                  <a:lnTo>
                    <a:pt x="75363" y="74674"/>
                  </a:lnTo>
                  <a:lnTo>
                    <a:pt x="74264" y="74024"/>
                  </a:lnTo>
                  <a:lnTo>
                    <a:pt x="69677" y="71736"/>
                  </a:lnTo>
                  <a:lnTo>
                    <a:pt x="64515" y="70877"/>
                  </a:lnTo>
                  <a:lnTo>
                    <a:pt x="59354" y="69733"/>
                  </a:lnTo>
                  <a:lnTo>
                    <a:pt x="51325" y="68303"/>
                  </a:lnTo>
                  <a:lnTo>
                    <a:pt x="43297" y="67731"/>
                  </a:lnTo>
                  <a:lnTo>
                    <a:pt x="35268" y="66300"/>
                  </a:lnTo>
                  <a:lnTo>
                    <a:pt x="22733" y="62086"/>
                  </a:lnTo>
                  <a:lnTo>
                    <a:pt x="12330" y="54736"/>
                  </a:lnTo>
                  <a:lnTo>
                    <a:pt x="5734" y="46275"/>
                  </a:lnTo>
                  <a:lnTo>
                    <a:pt x="1916" y="34564"/>
                  </a:lnTo>
                  <a:lnTo>
                    <a:pt x="3817" y="22939"/>
                  </a:lnTo>
                  <a:lnTo>
                    <a:pt x="9462" y="14522"/>
                  </a:lnTo>
                  <a:lnTo>
                    <a:pt x="19700" y="6331"/>
                  </a:lnTo>
                  <a:lnTo>
                    <a:pt x="31067" y="1611"/>
                  </a:lnTo>
                  <a:lnTo>
                    <a:pt x="43413" y="0"/>
                  </a:lnTo>
                  <a:lnTo>
                    <a:pt x="54480" y="790"/>
                  </a:lnTo>
                  <a:lnTo>
                    <a:pt x="62508" y="1935"/>
                  </a:lnTo>
                  <a:lnTo>
                    <a:pt x="69963" y="5081"/>
                  </a:lnTo>
                  <a:lnTo>
                    <a:pt x="76272" y="10803"/>
                  </a:lnTo>
                  <a:lnTo>
                    <a:pt x="77132" y="11661"/>
                  </a:lnTo>
                  <a:lnTo>
                    <a:pt x="78279" y="12233"/>
                  </a:lnTo>
                  <a:lnTo>
                    <a:pt x="79999" y="13663"/>
                  </a:lnTo>
                  <a:lnTo>
                    <a:pt x="79999" y="5367"/>
                  </a:lnTo>
                  <a:lnTo>
                    <a:pt x="79712" y="3079"/>
                  </a:lnTo>
                  <a:lnTo>
                    <a:pt x="80573" y="2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0" name="Google Shape;1920;p13"/>
            <p:cNvSpPr/>
            <p:nvPr/>
          </p:nvSpPr>
          <p:spPr>
            <a:xfrm>
              <a:off x="511796" y="7052802"/>
              <a:ext cx="70033" cy="114890"/>
            </a:xfrm>
            <a:custGeom>
              <a:avLst/>
              <a:gdLst/>
              <a:ahLst/>
              <a:cxnLst/>
              <a:rect l="l" t="t" r="r" b="b"/>
              <a:pathLst>
                <a:path w="70033" h="114890" extrusionOk="0">
                  <a:moveTo>
                    <a:pt x="864" y="22634"/>
                  </a:moveTo>
                  <a:lnTo>
                    <a:pt x="0" y="21774"/>
                  </a:lnTo>
                  <a:lnTo>
                    <a:pt x="288" y="19482"/>
                  </a:lnTo>
                  <a:lnTo>
                    <a:pt x="288" y="2865"/>
                  </a:lnTo>
                  <a:lnTo>
                    <a:pt x="0" y="573"/>
                  </a:lnTo>
                  <a:lnTo>
                    <a:pt x="864" y="0"/>
                  </a:lnTo>
                  <a:lnTo>
                    <a:pt x="68592" y="0"/>
                  </a:lnTo>
                  <a:lnTo>
                    <a:pt x="69457" y="859"/>
                  </a:lnTo>
                  <a:lnTo>
                    <a:pt x="69457" y="2865"/>
                  </a:lnTo>
                  <a:lnTo>
                    <a:pt x="69169" y="8308"/>
                  </a:lnTo>
                  <a:lnTo>
                    <a:pt x="69169" y="13752"/>
                  </a:lnTo>
                  <a:lnTo>
                    <a:pt x="69457" y="19482"/>
                  </a:lnTo>
                  <a:lnTo>
                    <a:pt x="69457" y="21774"/>
                  </a:lnTo>
                  <a:lnTo>
                    <a:pt x="68304" y="22634"/>
                  </a:lnTo>
                  <a:lnTo>
                    <a:pt x="65999" y="22634"/>
                  </a:lnTo>
                  <a:lnTo>
                    <a:pt x="61387" y="22347"/>
                  </a:lnTo>
                  <a:lnTo>
                    <a:pt x="51876" y="22347"/>
                  </a:lnTo>
                  <a:lnTo>
                    <a:pt x="48418" y="22634"/>
                  </a:lnTo>
                  <a:lnTo>
                    <a:pt x="48418" y="26072"/>
                  </a:lnTo>
                  <a:lnTo>
                    <a:pt x="48294" y="38757"/>
                  </a:lnTo>
                  <a:lnTo>
                    <a:pt x="48393" y="51495"/>
                  </a:lnTo>
                  <a:lnTo>
                    <a:pt x="48418" y="57302"/>
                  </a:lnTo>
                  <a:lnTo>
                    <a:pt x="48334" y="70013"/>
                  </a:lnTo>
                  <a:lnTo>
                    <a:pt x="48309" y="82670"/>
                  </a:lnTo>
                  <a:lnTo>
                    <a:pt x="48418" y="88818"/>
                  </a:lnTo>
                  <a:lnTo>
                    <a:pt x="48418" y="92256"/>
                  </a:lnTo>
                  <a:lnTo>
                    <a:pt x="56776" y="92256"/>
                  </a:lnTo>
                  <a:lnTo>
                    <a:pt x="61675" y="92543"/>
                  </a:lnTo>
                  <a:lnTo>
                    <a:pt x="66863" y="92256"/>
                  </a:lnTo>
                  <a:lnTo>
                    <a:pt x="69169" y="92256"/>
                  </a:lnTo>
                  <a:lnTo>
                    <a:pt x="70033" y="93116"/>
                  </a:lnTo>
                  <a:lnTo>
                    <a:pt x="69745" y="95408"/>
                  </a:lnTo>
                  <a:lnTo>
                    <a:pt x="69745" y="112025"/>
                  </a:lnTo>
                  <a:lnTo>
                    <a:pt x="70033" y="114031"/>
                  </a:lnTo>
                  <a:lnTo>
                    <a:pt x="68881" y="114890"/>
                  </a:lnTo>
                  <a:lnTo>
                    <a:pt x="864" y="114890"/>
                  </a:lnTo>
                  <a:lnTo>
                    <a:pt x="0" y="114031"/>
                  </a:lnTo>
                  <a:lnTo>
                    <a:pt x="0" y="111739"/>
                  </a:lnTo>
                  <a:lnTo>
                    <a:pt x="288" y="106295"/>
                  </a:lnTo>
                  <a:lnTo>
                    <a:pt x="288" y="101138"/>
                  </a:lnTo>
                  <a:lnTo>
                    <a:pt x="0" y="95694"/>
                  </a:lnTo>
                  <a:lnTo>
                    <a:pt x="0" y="93116"/>
                  </a:lnTo>
                  <a:lnTo>
                    <a:pt x="1152" y="92256"/>
                  </a:lnTo>
                  <a:lnTo>
                    <a:pt x="3458" y="92256"/>
                  </a:lnTo>
                  <a:lnTo>
                    <a:pt x="8646" y="92543"/>
                  </a:lnTo>
                  <a:lnTo>
                    <a:pt x="13545" y="92256"/>
                  </a:lnTo>
                  <a:lnTo>
                    <a:pt x="18445" y="92256"/>
                  </a:lnTo>
                  <a:lnTo>
                    <a:pt x="20750" y="92543"/>
                  </a:lnTo>
                  <a:lnTo>
                    <a:pt x="21903" y="91683"/>
                  </a:lnTo>
                  <a:lnTo>
                    <a:pt x="21903" y="89104"/>
                  </a:lnTo>
                  <a:lnTo>
                    <a:pt x="21764" y="76377"/>
                  </a:lnTo>
                  <a:lnTo>
                    <a:pt x="21695" y="63692"/>
                  </a:lnTo>
                  <a:lnTo>
                    <a:pt x="21696" y="51020"/>
                  </a:lnTo>
                  <a:lnTo>
                    <a:pt x="21766" y="38334"/>
                  </a:lnTo>
                  <a:lnTo>
                    <a:pt x="21903" y="25785"/>
                  </a:lnTo>
                  <a:lnTo>
                    <a:pt x="21903" y="23207"/>
                  </a:lnTo>
                  <a:lnTo>
                    <a:pt x="20750" y="22347"/>
                  </a:lnTo>
                  <a:lnTo>
                    <a:pt x="18445" y="22347"/>
                  </a:lnTo>
                  <a:lnTo>
                    <a:pt x="13257" y="22634"/>
                  </a:lnTo>
                  <a:lnTo>
                    <a:pt x="8069" y="22347"/>
                  </a:lnTo>
                  <a:lnTo>
                    <a:pt x="3170" y="22634"/>
                  </a:lnTo>
                  <a:lnTo>
                    <a:pt x="864" y="226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1" name="Google Shape;1921;p13"/>
            <p:cNvSpPr/>
            <p:nvPr/>
          </p:nvSpPr>
          <p:spPr>
            <a:xfrm>
              <a:off x="627912" y="7187388"/>
              <a:ext cx="14982" cy="31637"/>
            </a:xfrm>
            <a:custGeom>
              <a:avLst/>
              <a:gdLst/>
              <a:ahLst/>
              <a:cxnLst/>
              <a:rect l="l" t="t" r="r" b="b"/>
              <a:pathLst>
                <a:path w="14982" h="31637" extrusionOk="0">
                  <a:moveTo>
                    <a:pt x="3457" y="8997"/>
                  </a:moveTo>
                  <a:lnTo>
                    <a:pt x="5186" y="11319"/>
                  </a:lnTo>
                  <a:lnTo>
                    <a:pt x="8643" y="16834"/>
                  </a:lnTo>
                  <a:lnTo>
                    <a:pt x="14982" y="31637"/>
                  </a:lnTo>
                  <a:lnTo>
                    <a:pt x="6757" y="22018"/>
                  </a:lnTo>
                  <a:lnTo>
                    <a:pt x="37" y="11102"/>
                  </a:lnTo>
                  <a:lnTo>
                    <a:pt x="0" y="0"/>
                  </a:lnTo>
                  <a:lnTo>
                    <a:pt x="864" y="2322"/>
                  </a:lnTo>
                  <a:lnTo>
                    <a:pt x="1440" y="4063"/>
                  </a:lnTo>
                  <a:lnTo>
                    <a:pt x="2304" y="4353"/>
                  </a:lnTo>
                  <a:lnTo>
                    <a:pt x="4033" y="4063"/>
                  </a:lnTo>
                  <a:lnTo>
                    <a:pt x="3745" y="8127"/>
                  </a:lnTo>
                  <a:lnTo>
                    <a:pt x="3457" y="89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2" name="Google Shape;1922;p13"/>
            <p:cNvSpPr/>
            <p:nvPr/>
          </p:nvSpPr>
          <p:spPr>
            <a:xfrm>
              <a:off x="665655" y="7181003"/>
              <a:ext cx="105740" cy="50676"/>
            </a:xfrm>
            <a:custGeom>
              <a:avLst/>
              <a:gdLst/>
              <a:ahLst/>
              <a:cxnLst/>
              <a:rect l="l" t="t" r="r" b="b"/>
              <a:pathLst>
                <a:path w="105740" h="50676" extrusionOk="0">
                  <a:moveTo>
                    <a:pt x="89858" y="20691"/>
                  </a:moveTo>
                  <a:lnTo>
                    <a:pt x="88453" y="22059"/>
                  </a:lnTo>
                  <a:lnTo>
                    <a:pt x="78649" y="30949"/>
                  </a:lnTo>
                  <a:lnTo>
                    <a:pt x="68263" y="38702"/>
                  </a:lnTo>
                  <a:lnTo>
                    <a:pt x="57299" y="45287"/>
                  </a:lnTo>
                  <a:lnTo>
                    <a:pt x="45765" y="50676"/>
                  </a:lnTo>
                  <a:lnTo>
                    <a:pt x="36879" y="49052"/>
                  </a:lnTo>
                  <a:lnTo>
                    <a:pt x="40913" y="47311"/>
                  </a:lnTo>
                  <a:lnTo>
                    <a:pt x="46675" y="44989"/>
                  </a:lnTo>
                  <a:lnTo>
                    <a:pt x="52149" y="42667"/>
                  </a:lnTo>
                  <a:lnTo>
                    <a:pt x="57336" y="39764"/>
                  </a:lnTo>
                  <a:lnTo>
                    <a:pt x="61657" y="37732"/>
                  </a:lnTo>
                  <a:lnTo>
                    <a:pt x="65691" y="34830"/>
                  </a:lnTo>
                  <a:lnTo>
                    <a:pt x="69725" y="32508"/>
                  </a:lnTo>
                  <a:lnTo>
                    <a:pt x="69725" y="31347"/>
                  </a:lnTo>
                  <a:lnTo>
                    <a:pt x="67132" y="29605"/>
                  </a:lnTo>
                  <a:lnTo>
                    <a:pt x="64250" y="28154"/>
                  </a:lnTo>
                  <a:lnTo>
                    <a:pt x="61369" y="26413"/>
                  </a:lnTo>
                  <a:lnTo>
                    <a:pt x="59352" y="24961"/>
                  </a:lnTo>
                  <a:lnTo>
                    <a:pt x="58200" y="25542"/>
                  </a:lnTo>
                  <a:lnTo>
                    <a:pt x="56471" y="26993"/>
                  </a:lnTo>
                  <a:lnTo>
                    <a:pt x="50421" y="32218"/>
                  </a:lnTo>
                  <a:lnTo>
                    <a:pt x="44082" y="36862"/>
                  </a:lnTo>
                  <a:lnTo>
                    <a:pt x="37743" y="41796"/>
                  </a:lnTo>
                  <a:lnTo>
                    <a:pt x="36303" y="42957"/>
                  </a:lnTo>
                  <a:lnTo>
                    <a:pt x="34862" y="43538"/>
                  </a:lnTo>
                  <a:lnTo>
                    <a:pt x="33422" y="44408"/>
                  </a:lnTo>
                  <a:lnTo>
                    <a:pt x="31693" y="49923"/>
                  </a:lnTo>
                  <a:lnTo>
                    <a:pt x="31693" y="49343"/>
                  </a:lnTo>
                  <a:lnTo>
                    <a:pt x="30828" y="48762"/>
                  </a:lnTo>
                  <a:lnTo>
                    <a:pt x="29964" y="47891"/>
                  </a:lnTo>
                  <a:lnTo>
                    <a:pt x="28812" y="47601"/>
                  </a:lnTo>
                  <a:lnTo>
                    <a:pt x="25354" y="46150"/>
                  </a:lnTo>
                  <a:lnTo>
                    <a:pt x="21897" y="44699"/>
                  </a:lnTo>
                  <a:lnTo>
                    <a:pt x="18439" y="43828"/>
                  </a:lnTo>
                  <a:lnTo>
                    <a:pt x="5873" y="41894"/>
                  </a:lnTo>
                  <a:lnTo>
                    <a:pt x="0" y="38603"/>
                  </a:lnTo>
                  <a:lnTo>
                    <a:pt x="0" y="36753"/>
                  </a:lnTo>
                  <a:lnTo>
                    <a:pt x="7779" y="37732"/>
                  </a:lnTo>
                  <a:lnTo>
                    <a:pt x="10372" y="38023"/>
                  </a:lnTo>
                  <a:lnTo>
                    <a:pt x="12965" y="37732"/>
                  </a:lnTo>
                  <a:lnTo>
                    <a:pt x="15270" y="35701"/>
                  </a:lnTo>
                  <a:lnTo>
                    <a:pt x="18439" y="38893"/>
                  </a:lnTo>
                  <a:lnTo>
                    <a:pt x="21032" y="39764"/>
                  </a:lnTo>
                  <a:lnTo>
                    <a:pt x="23337" y="40635"/>
                  </a:lnTo>
                  <a:lnTo>
                    <a:pt x="25642" y="41216"/>
                  </a:lnTo>
                  <a:lnTo>
                    <a:pt x="27083" y="41506"/>
                  </a:lnTo>
                  <a:lnTo>
                    <a:pt x="29388" y="41506"/>
                  </a:lnTo>
                  <a:lnTo>
                    <a:pt x="30828" y="40635"/>
                  </a:lnTo>
                  <a:lnTo>
                    <a:pt x="34862" y="38603"/>
                  </a:lnTo>
                  <a:lnTo>
                    <a:pt x="39184" y="35991"/>
                  </a:lnTo>
                  <a:lnTo>
                    <a:pt x="43218" y="33088"/>
                  </a:lnTo>
                  <a:lnTo>
                    <a:pt x="47251" y="30186"/>
                  </a:lnTo>
                  <a:lnTo>
                    <a:pt x="50709" y="26703"/>
                  </a:lnTo>
                  <a:lnTo>
                    <a:pt x="54742" y="23220"/>
                  </a:lnTo>
                  <a:lnTo>
                    <a:pt x="53302" y="22349"/>
                  </a:lnTo>
                  <a:lnTo>
                    <a:pt x="52726" y="22059"/>
                  </a:lnTo>
                  <a:lnTo>
                    <a:pt x="51861" y="21769"/>
                  </a:lnTo>
                  <a:lnTo>
                    <a:pt x="47251" y="20027"/>
                  </a:lnTo>
                  <a:lnTo>
                    <a:pt x="42353" y="18285"/>
                  </a:lnTo>
                  <a:lnTo>
                    <a:pt x="37455" y="16544"/>
                  </a:lnTo>
                  <a:lnTo>
                    <a:pt x="35438" y="15673"/>
                  </a:lnTo>
                  <a:lnTo>
                    <a:pt x="34286" y="16544"/>
                  </a:lnTo>
                  <a:lnTo>
                    <a:pt x="33133" y="18285"/>
                  </a:lnTo>
                  <a:lnTo>
                    <a:pt x="32557" y="10158"/>
                  </a:lnTo>
                  <a:lnTo>
                    <a:pt x="33133" y="8127"/>
                  </a:lnTo>
                  <a:lnTo>
                    <a:pt x="33710" y="6385"/>
                  </a:lnTo>
                  <a:lnTo>
                    <a:pt x="34574" y="4644"/>
                  </a:lnTo>
                  <a:lnTo>
                    <a:pt x="35438" y="2902"/>
                  </a:lnTo>
                  <a:lnTo>
                    <a:pt x="36303" y="290"/>
                  </a:lnTo>
                  <a:lnTo>
                    <a:pt x="38031" y="0"/>
                  </a:lnTo>
                  <a:lnTo>
                    <a:pt x="40625" y="870"/>
                  </a:lnTo>
                  <a:lnTo>
                    <a:pt x="39472" y="3483"/>
                  </a:lnTo>
                  <a:lnTo>
                    <a:pt x="38608" y="6095"/>
                  </a:lnTo>
                  <a:lnTo>
                    <a:pt x="37743" y="8417"/>
                  </a:lnTo>
                  <a:lnTo>
                    <a:pt x="36303" y="11900"/>
                  </a:lnTo>
                  <a:lnTo>
                    <a:pt x="36591" y="11610"/>
                  </a:lnTo>
                  <a:lnTo>
                    <a:pt x="39760" y="12771"/>
                  </a:lnTo>
                  <a:lnTo>
                    <a:pt x="44658" y="14512"/>
                  </a:lnTo>
                  <a:lnTo>
                    <a:pt x="49844" y="16254"/>
                  </a:lnTo>
                  <a:lnTo>
                    <a:pt x="54454" y="18285"/>
                  </a:lnTo>
                  <a:lnTo>
                    <a:pt x="57047" y="19446"/>
                  </a:lnTo>
                  <a:lnTo>
                    <a:pt x="58776" y="18866"/>
                  </a:lnTo>
                  <a:lnTo>
                    <a:pt x="60217" y="16834"/>
                  </a:lnTo>
                  <a:lnTo>
                    <a:pt x="63386" y="12190"/>
                  </a:lnTo>
                  <a:lnTo>
                    <a:pt x="66555" y="7836"/>
                  </a:lnTo>
                  <a:lnTo>
                    <a:pt x="69725" y="2902"/>
                  </a:lnTo>
                  <a:lnTo>
                    <a:pt x="71165" y="580"/>
                  </a:lnTo>
                  <a:lnTo>
                    <a:pt x="72894" y="0"/>
                  </a:lnTo>
                  <a:lnTo>
                    <a:pt x="76063" y="870"/>
                  </a:lnTo>
                  <a:lnTo>
                    <a:pt x="73758" y="4644"/>
                  </a:lnTo>
                  <a:lnTo>
                    <a:pt x="71742" y="8127"/>
                  </a:lnTo>
                  <a:lnTo>
                    <a:pt x="69437" y="11319"/>
                  </a:lnTo>
                  <a:lnTo>
                    <a:pt x="67132" y="14802"/>
                  </a:lnTo>
                  <a:lnTo>
                    <a:pt x="64539" y="17995"/>
                  </a:lnTo>
                  <a:lnTo>
                    <a:pt x="61945" y="21478"/>
                  </a:lnTo>
                  <a:lnTo>
                    <a:pt x="65979" y="23800"/>
                  </a:lnTo>
                  <a:lnTo>
                    <a:pt x="69437" y="26122"/>
                  </a:lnTo>
                  <a:lnTo>
                    <a:pt x="73182" y="28154"/>
                  </a:lnTo>
                  <a:lnTo>
                    <a:pt x="73758" y="28444"/>
                  </a:lnTo>
                  <a:lnTo>
                    <a:pt x="75487" y="27864"/>
                  </a:lnTo>
                  <a:lnTo>
                    <a:pt x="76352" y="26993"/>
                  </a:lnTo>
                  <a:lnTo>
                    <a:pt x="86001" y="18696"/>
                  </a:lnTo>
                  <a:lnTo>
                    <a:pt x="94478" y="9218"/>
                  </a:lnTo>
                  <a:lnTo>
                    <a:pt x="99113" y="2902"/>
                  </a:lnTo>
                  <a:lnTo>
                    <a:pt x="100842" y="580"/>
                  </a:lnTo>
                  <a:lnTo>
                    <a:pt x="102570" y="0"/>
                  </a:lnTo>
                  <a:lnTo>
                    <a:pt x="105740" y="870"/>
                  </a:lnTo>
                  <a:lnTo>
                    <a:pt x="98471" y="11371"/>
                  </a:lnTo>
                  <a:lnTo>
                    <a:pt x="89858" y="206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3" name="Google Shape;1923;p13"/>
            <p:cNvSpPr/>
            <p:nvPr/>
          </p:nvSpPr>
          <p:spPr>
            <a:xfrm>
              <a:off x="556458" y="7181003"/>
              <a:ext cx="154962" cy="59703"/>
            </a:xfrm>
            <a:custGeom>
              <a:avLst/>
              <a:gdLst/>
              <a:ahLst/>
              <a:cxnLst/>
              <a:rect l="l" t="t" r="r" b="b"/>
              <a:pathLst>
                <a:path w="154962" h="59703" extrusionOk="0">
                  <a:moveTo>
                    <a:pt x="142862" y="54837"/>
                  </a:moveTo>
                  <a:lnTo>
                    <a:pt x="130203" y="57742"/>
                  </a:lnTo>
                  <a:lnTo>
                    <a:pt x="121875" y="58921"/>
                  </a:lnTo>
                  <a:lnTo>
                    <a:pt x="105828" y="59703"/>
                  </a:lnTo>
                  <a:lnTo>
                    <a:pt x="90748" y="58721"/>
                  </a:lnTo>
                  <a:lnTo>
                    <a:pt x="76648" y="56164"/>
                  </a:lnTo>
                  <a:lnTo>
                    <a:pt x="69725" y="48472"/>
                  </a:lnTo>
                  <a:lnTo>
                    <a:pt x="72030" y="44408"/>
                  </a:lnTo>
                  <a:lnTo>
                    <a:pt x="61142" y="37670"/>
                  </a:lnTo>
                  <a:lnTo>
                    <a:pt x="51259" y="29693"/>
                  </a:lnTo>
                  <a:lnTo>
                    <a:pt x="47539" y="26413"/>
                  </a:lnTo>
                  <a:lnTo>
                    <a:pt x="46963" y="25832"/>
                  </a:lnTo>
                  <a:lnTo>
                    <a:pt x="45523" y="25832"/>
                  </a:lnTo>
                  <a:lnTo>
                    <a:pt x="44658" y="26122"/>
                  </a:lnTo>
                  <a:lnTo>
                    <a:pt x="42353" y="27283"/>
                  </a:lnTo>
                  <a:lnTo>
                    <a:pt x="40048" y="28735"/>
                  </a:lnTo>
                  <a:lnTo>
                    <a:pt x="37743" y="30186"/>
                  </a:lnTo>
                  <a:lnTo>
                    <a:pt x="35150" y="31637"/>
                  </a:lnTo>
                  <a:lnTo>
                    <a:pt x="35150" y="32508"/>
                  </a:lnTo>
                  <a:lnTo>
                    <a:pt x="37743" y="33669"/>
                  </a:lnTo>
                  <a:lnTo>
                    <a:pt x="48972" y="39698"/>
                  </a:lnTo>
                  <a:lnTo>
                    <a:pt x="60240" y="45536"/>
                  </a:lnTo>
                  <a:lnTo>
                    <a:pt x="63538" y="52223"/>
                  </a:lnTo>
                  <a:lnTo>
                    <a:pt x="51430" y="47089"/>
                  </a:lnTo>
                  <a:lnTo>
                    <a:pt x="40336" y="40952"/>
                  </a:lnTo>
                  <a:lnTo>
                    <a:pt x="30266" y="34002"/>
                  </a:lnTo>
                  <a:lnTo>
                    <a:pt x="21232" y="26430"/>
                  </a:lnTo>
                  <a:lnTo>
                    <a:pt x="13246" y="18426"/>
                  </a:lnTo>
                  <a:lnTo>
                    <a:pt x="6318" y="10181"/>
                  </a:lnTo>
                  <a:lnTo>
                    <a:pt x="461" y="1884"/>
                  </a:lnTo>
                  <a:lnTo>
                    <a:pt x="0" y="1160"/>
                  </a:lnTo>
                  <a:lnTo>
                    <a:pt x="2016" y="0"/>
                  </a:lnTo>
                  <a:lnTo>
                    <a:pt x="3745" y="0"/>
                  </a:lnTo>
                  <a:lnTo>
                    <a:pt x="5186" y="2031"/>
                  </a:lnTo>
                  <a:lnTo>
                    <a:pt x="9219" y="6966"/>
                  </a:lnTo>
                  <a:lnTo>
                    <a:pt x="13253" y="12190"/>
                  </a:lnTo>
                  <a:lnTo>
                    <a:pt x="17575" y="16834"/>
                  </a:lnTo>
                  <a:lnTo>
                    <a:pt x="21608" y="20898"/>
                  </a:lnTo>
                  <a:lnTo>
                    <a:pt x="25930" y="24381"/>
                  </a:lnTo>
                  <a:lnTo>
                    <a:pt x="30252" y="28154"/>
                  </a:lnTo>
                  <a:lnTo>
                    <a:pt x="30828" y="28735"/>
                  </a:lnTo>
                  <a:lnTo>
                    <a:pt x="32269" y="28444"/>
                  </a:lnTo>
                  <a:lnTo>
                    <a:pt x="33133" y="27864"/>
                  </a:lnTo>
                  <a:lnTo>
                    <a:pt x="35726" y="26703"/>
                  </a:lnTo>
                  <a:lnTo>
                    <a:pt x="38031" y="24961"/>
                  </a:lnTo>
                  <a:lnTo>
                    <a:pt x="40625" y="23510"/>
                  </a:lnTo>
                  <a:lnTo>
                    <a:pt x="43218" y="21769"/>
                  </a:lnTo>
                  <a:lnTo>
                    <a:pt x="43218" y="21478"/>
                  </a:lnTo>
                  <a:lnTo>
                    <a:pt x="41489" y="19156"/>
                  </a:lnTo>
                  <a:lnTo>
                    <a:pt x="38031" y="13932"/>
                  </a:lnTo>
                  <a:lnTo>
                    <a:pt x="34574" y="8707"/>
                  </a:lnTo>
                  <a:lnTo>
                    <a:pt x="30828" y="3773"/>
                  </a:lnTo>
                  <a:lnTo>
                    <a:pt x="30540" y="2902"/>
                  </a:lnTo>
                  <a:lnTo>
                    <a:pt x="30252" y="2031"/>
                  </a:lnTo>
                  <a:lnTo>
                    <a:pt x="29676" y="870"/>
                  </a:lnTo>
                  <a:lnTo>
                    <a:pt x="32269" y="0"/>
                  </a:lnTo>
                  <a:lnTo>
                    <a:pt x="33998" y="580"/>
                  </a:lnTo>
                  <a:lnTo>
                    <a:pt x="35438" y="2612"/>
                  </a:lnTo>
                  <a:lnTo>
                    <a:pt x="38608" y="7546"/>
                  </a:lnTo>
                  <a:lnTo>
                    <a:pt x="42065" y="12190"/>
                  </a:lnTo>
                  <a:lnTo>
                    <a:pt x="45234" y="17124"/>
                  </a:lnTo>
                  <a:lnTo>
                    <a:pt x="46675" y="19156"/>
                  </a:lnTo>
                  <a:lnTo>
                    <a:pt x="48116" y="19446"/>
                  </a:lnTo>
                  <a:lnTo>
                    <a:pt x="50709" y="18576"/>
                  </a:lnTo>
                  <a:lnTo>
                    <a:pt x="55895" y="16254"/>
                  </a:lnTo>
                  <a:lnTo>
                    <a:pt x="61081" y="14512"/>
                  </a:lnTo>
                  <a:lnTo>
                    <a:pt x="66267" y="12771"/>
                  </a:lnTo>
                  <a:lnTo>
                    <a:pt x="68284" y="12190"/>
                  </a:lnTo>
                  <a:lnTo>
                    <a:pt x="68572" y="11319"/>
                  </a:lnTo>
                  <a:lnTo>
                    <a:pt x="67996" y="9288"/>
                  </a:lnTo>
                  <a:lnTo>
                    <a:pt x="67132" y="7546"/>
                  </a:lnTo>
                  <a:lnTo>
                    <a:pt x="66267" y="5514"/>
                  </a:lnTo>
                  <a:lnTo>
                    <a:pt x="65691" y="3773"/>
                  </a:lnTo>
                  <a:lnTo>
                    <a:pt x="65403" y="2612"/>
                  </a:lnTo>
                  <a:lnTo>
                    <a:pt x="65403" y="870"/>
                  </a:lnTo>
                  <a:lnTo>
                    <a:pt x="65979" y="580"/>
                  </a:lnTo>
                  <a:lnTo>
                    <a:pt x="67420" y="0"/>
                  </a:lnTo>
                  <a:lnTo>
                    <a:pt x="68860" y="290"/>
                  </a:lnTo>
                  <a:lnTo>
                    <a:pt x="69725" y="2031"/>
                  </a:lnTo>
                  <a:lnTo>
                    <a:pt x="70301" y="4353"/>
                  </a:lnTo>
                  <a:lnTo>
                    <a:pt x="71453" y="6385"/>
                  </a:lnTo>
                  <a:lnTo>
                    <a:pt x="71453" y="17415"/>
                  </a:lnTo>
                  <a:lnTo>
                    <a:pt x="71165" y="16834"/>
                  </a:lnTo>
                  <a:lnTo>
                    <a:pt x="69437" y="16254"/>
                  </a:lnTo>
                  <a:lnTo>
                    <a:pt x="68572" y="16544"/>
                  </a:lnTo>
                  <a:lnTo>
                    <a:pt x="64250" y="17705"/>
                  </a:lnTo>
                  <a:lnTo>
                    <a:pt x="60217" y="19446"/>
                  </a:lnTo>
                  <a:lnTo>
                    <a:pt x="55895" y="20898"/>
                  </a:lnTo>
                  <a:lnTo>
                    <a:pt x="54454" y="21478"/>
                  </a:lnTo>
                  <a:lnTo>
                    <a:pt x="52726" y="22059"/>
                  </a:lnTo>
                  <a:lnTo>
                    <a:pt x="50709" y="22930"/>
                  </a:lnTo>
                  <a:lnTo>
                    <a:pt x="52437" y="24671"/>
                  </a:lnTo>
                  <a:lnTo>
                    <a:pt x="53302" y="26122"/>
                  </a:lnTo>
                  <a:lnTo>
                    <a:pt x="54454" y="26993"/>
                  </a:lnTo>
                  <a:lnTo>
                    <a:pt x="60217" y="31057"/>
                  </a:lnTo>
                  <a:lnTo>
                    <a:pt x="65979" y="35120"/>
                  </a:lnTo>
                  <a:lnTo>
                    <a:pt x="71453" y="39474"/>
                  </a:lnTo>
                  <a:lnTo>
                    <a:pt x="76928" y="43538"/>
                  </a:lnTo>
                  <a:lnTo>
                    <a:pt x="81538" y="40345"/>
                  </a:lnTo>
                  <a:lnTo>
                    <a:pt x="86724" y="38893"/>
                  </a:lnTo>
                  <a:lnTo>
                    <a:pt x="86436" y="38313"/>
                  </a:lnTo>
                  <a:lnTo>
                    <a:pt x="86436" y="38023"/>
                  </a:lnTo>
                  <a:lnTo>
                    <a:pt x="80097" y="23220"/>
                  </a:lnTo>
                  <a:lnTo>
                    <a:pt x="83843" y="28444"/>
                  </a:lnTo>
                  <a:lnTo>
                    <a:pt x="87876" y="33379"/>
                  </a:lnTo>
                  <a:lnTo>
                    <a:pt x="89893" y="35701"/>
                  </a:lnTo>
                  <a:lnTo>
                    <a:pt x="92198" y="39184"/>
                  </a:lnTo>
                  <a:lnTo>
                    <a:pt x="95367" y="38023"/>
                  </a:lnTo>
                  <a:lnTo>
                    <a:pt x="98537" y="37732"/>
                  </a:lnTo>
                  <a:lnTo>
                    <a:pt x="100842" y="37442"/>
                  </a:lnTo>
                  <a:lnTo>
                    <a:pt x="103147" y="37152"/>
                  </a:lnTo>
                  <a:lnTo>
                    <a:pt x="103723" y="36862"/>
                  </a:lnTo>
                  <a:lnTo>
                    <a:pt x="105164" y="35991"/>
                  </a:lnTo>
                  <a:lnTo>
                    <a:pt x="105164" y="12480"/>
                  </a:lnTo>
                  <a:lnTo>
                    <a:pt x="103723" y="11319"/>
                  </a:lnTo>
                  <a:lnTo>
                    <a:pt x="103147" y="11319"/>
                  </a:lnTo>
                  <a:lnTo>
                    <a:pt x="94791" y="12190"/>
                  </a:lnTo>
                  <a:lnTo>
                    <a:pt x="86436" y="13061"/>
                  </a:lnTo>
                  <a:lnTo>
                    <a:pt x="78368" y="14222"/>
                  </a:lnTo>
                  <a:lnTo>
                    <a:pt x="75199" y="14512"/>
                  </a:lnTo>
                  <a:lnTo>
                    <a:pt x="75487" y="10449"/>
                  </a:lnTo>
                  <a:lnTo>
                    <a:pt x="88098" y="8840"/>
                  </a:lnTo>
                  <a:lnTo>
                    <a:pt x="100709" y="7412"/>
                  </a:lnTo>
                  <a:lnTo>
                    <a:pt x="102282" y="7256"/>
                  </a:lnTo>
                  <a:lnTo>
                    <a:pt x="104587" y="6966"/>
                  </a:lnTo>
                  <a:lnTo>
                    <a:pt x="105452" y="6095"/>
                  </a:lnTo>
                  <a:lnTo>
                    <a:pt x="105164" y="4063"/>
                  </a:lnTo>
                  <a:lnTo>
                    <a:pt x="105164" y="2612"/>
                  </a:lnTo>
                  <a:lnTo>
                    <a:pt x="105740" y="2031"/>
                  </a:lnTo>
                  <a:lnTo>
                    <a:pt x="106604" y="1160"/>
                  </a:lnTo>
                  <a:lnTo>
                    <a:pt x="107180" y="580"/>
                  </a:lnTo>
                  <a:lnTo>
                    <a:pt x="107757" y="1160"/>
                  </a:lnTo>
                  <a:lnTo>
                    <a:pt x="108909" y="1741"/>
                  </a:lnTo>
                  <a:lnTo>
                    <a:pt x="108909" y="2612"/>
                  </a:lnTo>
                  <a:lnTo>
                    <a:pt x="109773" y="6966"/>
                  </a:lnTo>
                  <a:lnTo>
                    <a:pt x="109773" y="6675"/>
                  </a:lnTo>
                  <a:lnTo>
                    <a:pt x="114095" y="7256"/>
                  </a:lnTo>
                  <a:lnTo>
                    <a:pt x="122451" y="7836"/>
                  </a:lnTo>
                  <a:lnTo>
                    <a:pt x="130518" y="8997"/>
                  </a:lnTo>
                  <a:lnTo>
                    <a:pt x="138586" y="10158"/>
                  </a:lnTo>
                  <a:lnTo>
                    <a:pt x="140602" y="10449"/>
                  </a:lnTo>
                  <a:lnTo>
                    <a:pt x="141755" y="10158"/>
                  </a:lnTo>
                  <a:lnTo>
                    <a:pt x="142331" y="18285"/>
                  </a:lnTo>
                  <a:lnTo>
                    <a:pt x="138586" y="25252"/>
                  </a:lnTo>
                  <a:lnTo>
                    <a:pt x="134552" y="31927"/>
                  </a:lnTo>
                  <a:lnTo>
                    <a:pt x="128789" y="37152"/>
                  </a:lnTo>
                  <a:lnTo>
                    <a:pt x="128501" y="37442"/>
                  </a:lnTo>
                  <a:lnTo>
                    <a:pt x="128213" y="38313"/>
                  </a:lnTo>
                  <a:lnTo>
                    <a:pt x="127637" y="38893"/>
                  </a:lnTo>
                  <a:lnTo>
                    <a:pt x="124468" y="35701"/>
                  </a:lnTo>
                  <a:lnTo>
                    <a:pt x="129942" y="30766"/>
                  </a:lnTo>
                  <a:lnTo>
                    <a:pt x="134264" y="24671"/>
                  </a:lnTo>
                  <a:lnTo>
                    <a:pt x="137721" y="17995"/>
                  </a:lnTo>
                  <a:lnTo>
                    <a:pt x="139450" y="14802"/>
                  </a:lnTo>
                  <a:lnTo>
                    <a:pt x="139162" y="14512"/>
                  </a:lnTo>
                  <a:lnTo>
                    <a:pt x="135992" y="13932"/>
                  </a:lnTo>
                  <a:lnTo>
                    <a:pt x="127637" y="13061"/>
                  </a:lnTo>
                  <a:lnTo>
                    <a:pt x="119570" y="12190"/>
                  </a:lnTo>
                  <a:lnTo>
                    <a:pt x="111214" y="11029"/>
                  </a:lnTo>
                  <a:lnTo>
                    <a:pt x="109485" y="11029"/>
                  </a:lnTo>
                  <a:lnTo>
                    <a:pt x="109197" y="12190"/>
                  </a:lnTo>
                  <a:lnTo>
                    <a:pt x="109197" y="36753"/>
                  </a:lnTo>
                  <a:lnTo>
                    <a:pt x="107757" y="36572"/>
                  </a:lnTo>
                  <a:lnTo>
                    <a:pt x="109197" y="38603"/>
                  </a:lnTo>
                  <a:lnTo>
                    <a:pt x="115071" y="41894"/>
                  </a:lnTo>
                  <a:lnTo>
                    <a:pt x="102450" y="41749"/>
                  </a:lnTo>
                  <a:lnTo>
                    <a:pt x="96232" y="42377"/>
                  </a:lnTo>
                  <a:lnTo>
                    <a:pt x="89029" y="42957"/>
                  </a:lnTo>
                  <a:lnTo>
                    <a:pt x="82402" y="44408"/>
                  </a:lnTo>
                  <a:lnTo>
                    <a:pt x="76063" y="47601"/>
                  </a:lnTo>
                  <a:lnTo>
                    <a:pt x="74911" y="48182"/>
                  </a:lnTo>
                  <a:lnTo>
                    <a:pt x="74335" y="49052"/>
                  </a:lnTo>
                  <a:lnTo>
                    <a:pt x="73470" y="49633"/>
                  </a:lnTo>
                  <a:lnTo>
                    <a:pt x="73470" y="50213"/>
                  </a:lnTo>
                  <a:lnTo>
                    <a:pt x="73758" y="50504"/>
                  </a:lnTo>
                  <a:lnTo>
                    <a:pt x="86225" y="53283"/>
                  </a:lnTo>
                  <a:lnTo>
                    <a:pt x="98729" y="54784"/>
                  </a:lnTo>
                  <a:lnTo>
                    <a:pt x="111249" y="55008"/>
                  </a:lnTo>
                  <a:lnTo>
                    <a:pt x="123761" y="53954"/>
                  </a:lnTo>
                  <a:lnTo>
                    <a:pt x="136243" y="51622"/>
                  </a:lnTo>
                  <a:lnTo>
                    <a:pt x="140602" y="50504"/>
                  </a:lnTo>
                  <a:lnTo>
                    <a:pt x="140602" y="50213"/>
                  </a:lnTo>
                  <a:lnTo>
                    <a:pt x="140890" y="49923"/>
                  </a:lnTo>
                  <a:lnTo>
                    <a:pt x="142619" y="44408"/>
                  </a:lnTo>
                  <a:lnTo>
                    <a:pt x="145789" y="48762"/>
                  </a:lnTo>
                  <a:lnTo>
                    <a:pt x="146077" y="49052"/>
                  </a:lnTo>
                  <a:lnTo>
                    <a:pt x="154962" y="50676"/>
                  </a:lnTo>
                  <a:lnTo>
                    <a:pt x="142862" y="5483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4" name="Google Shape;1924;p13"/>
            <p:cNvSpPr/>
            <p:nvPr/>
          </p:nvSpPr>
          <p:spPr>
            <a:xfrm>
              <a:off x="616698" y="7226540"/>
              <a:ext cx="16407" cy="10627"/>
            </a:xfrm>
            <a:custGeom>
              <a:avLst/>
              <a:gdLst/>
              <a:ahLst/>
              <a:cxnLst/>
              <a:rect l="l" t="t" r="r" b="b"/>
              <a:pathLst>
                <a:path w="16407" h="10627" extrusionOk="0">
                  <a:moveTo>
                    <a:pt x="0" y="0"/>
                  </a:moveTo>
                  <a:lnTo>
                    <a:pt x="2857" y="1484"/>
                  </a:lnTo>
                  <a:lnTo>
                    <a:pt x="6603" y="3515"/>
                  </a:lnTo>
                  <a:lnTo>
                    <a:pt x="9484" y="2935"/>
                  </a:lnTo>
                  <a:lnTo>
                    <a:pt x="16407" y="10627"/>
                  </a:lnTo>
                  <a:lnTo>
                    <a:pt x="3298" y="66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5" name="Google Shape;1925;p13"/>
            <p:cNvSpPr/>
            <p:nvPr/>
          </p:nvSpPr>
          <p:spPr>
            <a:xfrm>
              <a:off x="708005" y="6993576"/>
              <a:ext cx="32987" cy="15502"/>
            </a:xfrm>
            <a:custGeom>
              <a:avLst/>
              <a:gdLst/>
              <a:ahLst/>
              <a:cxnLst/>
              <a:rect l="l" t="t" r="r" b="b"/>
              <a:pathLst>
                <a:path w="32987" h="15502" extrusionOk="0">
                  <a:moveTo>
                    <a:pt x="27948" y="15502"/>
                  </a:moveTo>
                  <a:lnTo>
                    <a:pt x="27948" y="14631"/>
                  </a:lnTo>
                  <a:lnTo>
                    <a:pt x="25643" y="13470"/>
                  </a:lnTo>
                  <a:lnTo>
                    <a:pt x="14369" y="7493"/>
                  </a:lnTo>
                  <a:lnTo>
                    <a:pt x="3137" y="1705"/>
                  </a:lnTo>
                  <a:lnTo>
                    <a:pt x="0" y="118"/>
                  </a:lnTo>
                  <a:lnTo>
                    <a:pt x="11804" y="0"/>
                  </a:lnTo>
                  <a:lnTo>
                    <a:pt x="22909" y="6117"/>
                  </a:lnTo>
                  <a:lnTo>
                    <a:pt x="32987" y="13046"/>
                  </a:lnTo>
                  <a:lnTo>
                    <a:pt x="27948" y="155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6" name="Google Shape;1926;p13"/>
            <p:cNvSpPr/>
            <p:nvPr/>
          </p:nvSpPr>
          <p:spPr>
            <a:xfrm>
              <a:off x="607161" y="6992824"/>
              <a:ext cx="88166" cy="47601"/>
            </a:xfrm>
            <a:custGeom>
              <a:avLst/>
              <a:gdLst/>
              <a:ahLst/>
              <a:cxnLst/>
              <a:rect l="l" t="t" r="r" b="b"/>
              <a:pathLst>
                <a:path w="88166" h="47601" extrusionOk="0">
                  <a:moveTo>
                    <a:pt x="5186" y="31637"/>
                  </a:moveTo>
                  <a:lnTo>
                    <a:pt x="288" y="29606"/>
                  </a:lnTo>
                  <a:lnTo>
                    <a:pt x="0" y="24671"/>
                  </a:lnTo>
                  <a:lnTo>
                    <a:pt x="1440" y="25542"/>
                  </a:lnTo>
                  <a:lnTo>
                    <a:pt x="2016" y="25832"/>
                  </a:lnTo>
                  <a:lnTo>
                    <a:pt x="2881" y="26122"/>
                  </a:lnTo>
                  <a:lnTo>
                    <a:pt x="17575" y="31347"/>
                  </a:lnTo>
                  <a:lnTo>
                    <a:pt x="19592" y="32218"/>
                  </a:lnTo>
                  <a:lnTo>
                    <a:pt x="20456" y="31347"/>
                  </a:lnTo>
                  <a:lnTo>
                    <a:pt x="21609" y="29606"/>
                  </a:lnTo>
                  <a:lnTo>
                    <a:pt x="25354" y="22639"/>
                  </a:lnTo>
                  <a:lnTo>
                    <a:pt x="29388" y="15964"/>
                  </a:lnTo>
                  <a:lnTo>
                    <a:pt x="35151" y="10739"/>
                  </a:lnTo>
                  <a:lnTo>
                    <a:pt x="35727" y="10449"/>
                  </a:lnTo>
                  <a:lnTo>
                    <a:pt x="36015" y="9578"/>
                  </a:lnTo>
                  <a:lnTo>
                    <a:pt x="36591" y="8997"/>
                  </a:lnTo>
                  <a:lnTo>
                    <a:pt x="33998" y="8127"/>
                  </a:lnTo>
                  <a:lnTo>
                    <a:pt x="31693" y="7256"/>
                  </a:lnTo>
                  <a:lnTo>
                    <a:pt x="29388" y="6675"/>
                  </a:lnTo>
                  <a:lnTo>
                    <a:pt x="32846" y="3192"/>
                  </a:lnTo>
                  <a:lnTo>
                    <a:pt x="36303" y="4063"/>
                  </a:lnTo>
                  <a:lnTo>
                    <a:pt x="48899" y="5987"/>
                  </a:lnTo>
                  <a:lnTo>
                    <a:pt x="61439" y="6155"/>
                  </a:lnTo>
                  <a:lnTo>
                    <a:pt x="67997" y="5514"/>
                  </a:lnTo>
                  <a:lnTo>
                    <a:pt x="74912" y="4934"/>
                  </a:lnTo>
                  <a:lnTo>
                    <a:pt x="81827" y="3483"/>
                  </a:lnTo>
                  <a:lnTo>
                    <a:pt x="88166" y="0"/>
                  </a:lnTo>
                  <a:lnTo>
                    <a:pt x="87013" y="4353"/>
                  </a:lnTo>
                  <a:lnTo>
                    <a:pt x="82403" y="7256"/>
                  </a:lnTo>
                  <a:lnTo>
                    <a:pt x="77505" y="8997"/>
                  </a:lnTo>
                  <a:lnTo>
                    <a:pt x="77505" y="9578"/>
                  </a:lnTo>
                  <a:lnTo>
                    <a:pt x="80386" y="19156"/>
                  </a:lnTo>
                  <a:lnTo>
                    <a:pt x="76352" y="14222"/>
                  </a:lnTo>
                  <a:lnTo>
                    <a:pt x="74336" y="12190"/>
                  </a:lnTo>
                  <a:lnTo>
                    <a:pt x="72031" y="8707"/>
                  </a:lnTo>
                  <a:lnTo>
                    <a:pt x="68573" y="9868"/>
                  </a:lnTo>
                  <a:lnTo>
                    <a:pt x="65692" y="10158"/>
                  </a:lnTo>
                  <a:lnTo>
                    <a:pt x="63387" y="10449"/>
                  </a:lnTo>
                  <a:lnTo>
                    <a:pt x="61082" y="10739"/>
                  </a:lnTo>
                  <a:lnTo>
                    <a:pt x="60217" y="11029"/>
                  </a:lnTo>
                  <a:lnTo>
                    <a:pt x="59065" y="11900"/>
                  </a:lnTo>
                  <a:lnTo>
                    <a:pt x="59065" y="12771"/>
                  </a:lnTo>
                  <a:lnTo>
                    <a:pt x="58777" y="20027"/>
                  </a:lnTo>
                  <a:lnTo>
                    <a:pt x="58777" y="27284"/>
                  </a:lnTo>
                  <a:lnTo>
                    <a:pt x="59065" y="34540"/>
                  </a:lnTo>
                  <a:lnTo>
                    <a:pt x="59065" y="35411"/>
                  </a:lnTo>
                  <a:lnTo>
                    <a:pt x="60217" y="36572"/>
                  </a:lnTo>
                  <a:lnTo>
                    <a:pt x="59641" y="40926"/>
                  </a:lnTo>
                  <a:lnTo>
                    <a:pt x="58777" y="41506"/>
                  </a:lnTo>
                  <a:lnTo>
                    <a:pt x="58777" y="44118"/>
                  </a:lnTo>
                  <a:lnTo>
                    <a:pt x="59065" y="44699"/>
                  </a:lnTo>
                  <a:lnTo>
                    <a:pt x="58777" y="45279"/>
                  </a:lnTo>
                  <a:lnTo>
                    <a:pt x="58201" y="45860"/>
                  </a:lnTo>
                  <a:lnTo>
                    <a:pt x="57624" y="46731"/>
                  </a:lnTo>
                  <a:lnTo>
                    <a:pt x="57048" y="47311"/>
                  </a:lnTo>
                  <a:lnTo>
                    <a:pt x="56472" y="11319"/>
                  </a:lnTo>
                  <a:lnTo>
                    <a:pt x="54743" y="9288"/>
                  </a:lnTo>
                  <a:lnTo>
                    <a:pt x="54803" y="11109"/>
                  </a:lnTo>
                  <a:lnTo>
                    <a:pt x="47252" y="10158"/>
                  </a:lnTo>
                  <a:lnTo>
                    <a:pt x="44371" y="9868"/>
                  </a:lnTo>
                  <a:lnTo>
                    <a:pt x="42066" y="10158"/>
                  </a:lnTo>
                  <a:lnTo>
                    <a:pt x="39761" y="12190"/>
                  </a:lnTo>
                  <a:lnTo>
                    <a:pt x="33998" y="17125"/>
                  </a:lnTo>
                  <a:lnTo>
                    <a:pt x="29964" y="23220"/>
                  </a:lnTo>
                  <a:lnTo>
                    <a:pt x="26219" y="29896"/>
                  </a:lnTo>
                  <a:lnTo>
                    <a:pt x="24778" y="33089"/>
                  </a:lnTo>
                  <a:lnTo>
                    <a:pt x="24778" y="33379"/>
                  </a:lnTo>
                  <a:lnTo>
                    <a:pt x="28236" y="33959"/>
                  </a:lnTo>
                  <a:lnTo>
                    <a:pt x="36303" y="34830"/>
                  </a:lnTo>
                  <a:lnTo>
                    <a:pt x="44659" y="35701"/>
                  </a:lnTo>
                  <a:lnTo>
                    <a:pt x="52726" y="36572"/>
                  </a:lnTo>
                  <a:lnTo>
                    <a:pt x="54455" y="40926"/>
                  </a:lnTo>
                  <a:lnTo>
                    <a:pt x="54455" y="41216"/>
                  </a:lnTo>
                  <a:lnTo>
                    <a:pt x="50133" y="40635"/>
                  </a:lnTo>
                  <a:lnTo>
                    <a:pt x="41778" y="40055"/>
                  </a:lnTo>
                  <a:lnTo>
                    <a:pt x="33422" y="38894"/>
                  </a:lnTo>
                  <a:lnTo>
                    <a:pt x="25354" y="37733"/>
                  </a:lnTo>
                  <a:lnTo>
                    <a:pt x="23338" y="37152"/>
                  </a:lnTo>
                  <a:lnTo>
                    <a:pt x="22185" y="37733"/>
                  </a:lnTo>
                  <a:lnTo>
                    <a:pt x="21609" y="39765"/>
                  </a:lnTo>
                  <a:lnTo>
                    <a:pt x="21033" y="41506"/>
                  </a:lnTo>
                  <a:lnTo>
                    <a:pt x="20168" y="43248"/>
                  </a:lnTo>
                  <a:lnTo>
                    <a:pt x="19592" y="44989"/>
                  </a:lnTo>
                  <a:lnTo>
                    <a:pt x="18728" y="47601"/>
                  </a:lnTo>
                  <a:lnTo>
                    <a:pt x="18439" y="36281"/>
                  </a:lnTo>
                  <a:lnTo>
                    <a:pt x="18439" y="35991"/>
                  </a:lnTo>
                  <a:lnTo>
                    <a:pt x="18354" y="36250"/>
                  </a:lnTo>
                  <a:lnTo>
                    <a:pt x="15270" y="35120"/>
                  </a:lnTo>
                  <a:lnTo>
                    <a:pt x="10084" y="33379"/>
                  </a:lnTo>
                  <a:lnTo>
                    <a:pt x="5186" y="3163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7" name="Google Shape;1927;p13"/>
            <p:cNvSpPr/>
            <p:nvPr/>
          </p:nvSpPr>
          <p:spPr>
            <a:xfrm>
              <a:off x="659888" y="7003934"/>
              <a:ext cx="4321" cy="36201"/>
            </a:xfrm>
            <a:custGeom>
              <a:avLst/>
              <a:gdLst/>
              <a:ahLst/>
              <a:cxnLst/>
              <a:rect l="l" t="t" r="r" b="b"/>
              <a:pathLst>
                <a:path w="4321" h="36201" extrusionOk="0">
                  <a:moveTo>
                    <a:pt x="2305" y="23140"/>
                  </a:moveTo>
                  <a:lnTo>
                    <a:pt x="2305" y="6885"/>
                  </a:lnTo>
                  <a:lnTo>
                    <a:pt x="2077" y="0"/>
                  </a:lnTo>
                  <a:lnTo>
                    <a:pt x="3745" y="210"/>
                  </a:lnTo>
                  <a:lnTo>
                    <a:pt x="4321" y="36201"/>
                  </a:lnTo>
                  <a:lnTo>
                    <a:pt x="3457" y="35621"/>
                  </a:lnTo>
                  <a:lnTo>
                    <a:pt x="2593" y="35040"/>
                  </a:lnTo>
                  <a:lnTo>
                    <a:pt x="2305" y="34170"/>
                  </a:lnTo>
                  <a:lnTo>
                    <a:pt x="1728" y="29816"/>
                  </a:lnTo>
                  <a:lnTo>
                    <a:pt x="0" y="25462"/>
                  </a:lnTo>
                  <a:lnTo>
                    <a:pt x="2016" y="25752"/>
                  </a:lnTo>
                  <a:lnTo>
                    <a:pt x="2305" y="24591"/>
                  </a:lnTo>
                  <a:lnTo>
                    <a:pt x="2305" y="231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8" name="Google Shape;1928;p13"/>
            <p:cNvSpPr/>
            <p:nvPr/>
          </p:nvSpPr>
          <p:spPr>
            <a:xfrm>
              <a:off x="556451" y="6981012"/>
              <a:ext cx="214940" cy="59704"/>
            </a:xfrm>
            <a:custGeom>
              <a:avLst/>
              <a:gdLst/>
              <a:ahLst/>
              <a:cxnLst/>
              <a:rect l="l" t="t" r="r" b="b"/>
              <a:pathLst>
                <a:path w="214940" h="59704" extrusionOk="0">
                  <a:moveTo>
                    <a:pt x="126553" y="50863"/>
                  </a:moveTo>
                  <a:lnTo>
                    <a:pt x="113942" y="52291"/>
                  </a:lnTo>
                  <a:lnTo>
                    <a:pt x="112368" y="52447"/>
                  </a:lnTo>
                  <a:lnTo>
                    <a:pt x="110351" y="52737"/>
                  </a:lnTo>
                  <a:lnTo>
                    <a:pt x="110927" y="48384"/>
                  </a:lnTo>
                  <a:lnTo>
                    <a:pt x="111792" y="48384"/>
                  </a:lnTo>
                  <a:lnTo>
                    <a:pt x="119859" y="47513"/>
                  </a:lnTo>
                  <a:lnTo>
                    <a:pt x="128215" y="46642"/>
                  </a:lnTo>
                  <a:lnTo>
                    <a:pt x="136570" y="45481"/>
                  </a:lnTo>
                  <a:lnTo>
                    <a:pt x="139452" y="45191"/>
                  </a:lnTo>
                  <a:lnTo>
                    <a:pt x="139740" y="44320"/>
                  </a:lnTo>
                  <a:lnTo>
                    <a:pt x="138299" y="41998"/>
                  </a:lnTo>
                  <a:lnTo>
                    <a:pt x="134554" y="36483"/>
                  </a:lnTo>
                  <a:lnTo>
                    <a:pt x="131096" y="30968"/>
                  </a:lnTo>
                  <a:lnTo>
                    <a:pt x="128215" y="21390"/>
                  </a:lnTo>
                  <a:lnTo>
                    <a:pt x="128503" y="21680"/>
                  </a:lnTo>
                  <a:lnTo>
                    <a:pt x="134554" y="27776"/>
                  </a:lnTo>
                  <a:lnTo>
                    <a:pt x="139452" y="34451"/>
                  </a:lnTo>
                  <a:lnTo>
                    <a:pt x="143197" y="42288"/>
                  </a:lnTo>
                  <a:lnTo>
                    <a:pt x="143485" y="42869"/>
                  </a:lnTo>
                  <a:lnTo>
                    <a:pt x="145502" y="43449"/>
                  </a:lnTo>
                  <a:lnTo>
                    <a:pt x="146367" y="43159"/>
                  </a:lnTo>
                  <a:lnTo>
                    <a:pt x="150400" y="41998"/>
                  </a:lnTo>
                  <a:lnTo>
                    <a:pt x="154722" y="40256"/>
                  </a:lnTo>
                  <a:lnTo>
                    <a:pt x="158756" y="38805"/>
                  </a:lnTo>
                  <a:lnTo>
                    <a:pt x="160485" y="38225"/>
                  </a:lnTo>
                  <a:lnTo>
                    <a:pt x="161925" y="37644"/>
                  </a:lnTo>
                  <a:lnTo>
                    <a:pt x="163942" y="36483"/>
                  </a:lnTo>
                  <a:lnTo>
                    <a:pt x="162502" y="35032"/>
                  </a:lnTo>
                  <a:lnTo>
                    <a:pt x="161349" y="33581"/>
                  </a:lnTo>
                  <a:lnTo>
                    <a:pt x="160197" y="32710"/>
                  </a:lnTo>
                  <a:lnTo>
                    <a:pt x="154722" y="28646"/>
                  </a:lnTo>
                  <a:lnTo>
                    <a:pt x="148672" y="24583"/>
                  </a:lnTo>
                  <a:lnTo>
                    <a:pt x="143197" y="20229"/>
                  </a:lnTo>
                  <a:lnTo>
                    <a:pt x="137723" y="16165"/>
                  </a:lnTo>
                  <a:lnTo>
                    <a:pt x="138875" y="11811"/>
                  </a:lnTo>
                  <a:lnTo>
                    <a:pt x="139740" y="11521"/>
                  </a:lnTo>
                  <a:lnTo>
                    <a:pt x="140604" y="10650"/>
                  </a:lnTo>
                  <a:lnTo>
                    <a:pt x="141468" y="10070"/>
                  </a:lnTo>
                  <a:lnTo>
                    <a:pt x="141180" y="9780"/>
                  </a:lnTo>
                  <a:lnTo>
                    <a:pt x="141180" y="9199"/>
                  </a:lnTo>
                  <a:lnTo>
                    <a:pt x="128657" y="6429"/>
                  </a:lnTo>
                  <a:lnTo>
                    <a:pt x="116172" y="4926"/>
                  </a:lnTo>
                  <a:lnTo>
                    <a:pt x="103702" y="4690"/>
                  </a:lnTo>
                  <a:lnTo>
                    <a:pt x="91225" y="5721"/>
                  </a:lnTo>
                  <a:lnTo>
                    <a:pt x="78718" y="8019"/>
                  </a:lnTo>
                  <a:lnTo>
                    <a:pt x="74047" y="9199"/>
                  </a:lnTo>
                  <a:lnTo>
                    <a:pt x="74047" y="9780"/>
                  </a:lnTo>
                  <a:lnTo>
                    <a:pt x="73759" y="10070"/>
                  </a:lnTo>
                  <a:lnTo>
                    <a:pt x="74912" y="10941"/>
                  </a:lnTo>
                  <a:lnTo>
                    <a:pt x="75776" y="11811"/>
                  </a:lnTo>
                  <a:lnTo>
                    <a:pt x="76641" y="12102"/>
                  </a:lnTo>
                  <a:lnTo>
                    <a:pt x="80098" y="13553"/>
                  </a:lnTo>
                  <a:lnTo>
                    <a:pt x="83556" y="15004"/>
                  </a:lnTo>
                  <a:lnTo>
                    <a:pt x="80098" y="18487"/>
                  </a:lnTo>
                  <a:lnTo>
                    <a:pt x="78369" y="18197"/>
                  </a:lnTo>
                  <a:lnTo>
                    <a:pt x="76352" y="18197"/>
                  </a:lnTo>
                  <a:lnTo>
                    <a:pt x="74912" y="19068"/>
                  </a:lnTo>
                  <a:lnTo>
                    <a:pt x="70590" y="21100"/>
                  </a:lnTo>
                  <a:lnTo>
                    <a:pt x="66268" y="23712"/>
                  </a:lnTo>
                  <a:lnTo>
                    <a:pt x="67709" y="17907"/>
                  </a:lnTo>
                  <a:lnTo>
                    <a:pt x="69149" y="16746"/>
                  </a:lnTo>
                  <a:lnTo>
                    <a:pt x="70590" y="16165"/>
                  </a:lnTo>
                  <a:lnTo>
                    <a:pt x="72031" y="15295"/>
                  </a:lnTo>
                  <a:lnTo>
                    <a:pt x="69149" y="10941"/>
                  </a:lnTo>
                  <a:lnTo>
                    <a:pt x="68861" y="10650"/>
                  </a:lnTo>
                  <a:lnTo>
                    <a:pt x="64539" y="12392"/>
                  </a:lnTo>
                  <a:lnTo>
                    <a:pt x="59065" y="14714"/>
                  </a:lnTo>
                  <a:lnTo>
                    <a:pt x="53591" y="17036"/>
                  </a:lnTo>
                  <a:lnTo>
                    <a:pt x="48116" y="19648"/>
                  </a:lnTo>
                  <a:lnTo>
                    <a:pt x="43794" y="21970"/>
                  </a:lnTo>
                  <a:lnTo>
                    <a:pt x="40049" y="24873"/>
                  </a:lnTo>
                  <a:lnTo>
                    <a:pt x="35727" y="27195"/>
                  </a:lnTo>
                  <a:lnTo>
                    <a:pt x="35727" y="28356"/>
                  </a:lnTo>
                  <a:lnTo>
                    <a:pt x="38608" y="30098"/>
                  </a:lnTo>
                  <a:lnTo>
                    <a:pt x="41489" y="31549"/>
                  </a:lnTo>
                  <a:lnTo>
                    <a:pt x="44083" y="33290"/>
                  </a:lnTo>
                  <a:lnTo>
                    <a:pt x="46099" y="34742"/>
                  </a:lnTo>
                  <a:lnTo>
                    <a:pt x="47252" y="34161"/>
                  </a:lnTo>
                  <a:lnTo>
                    <a:pt x="48981" y="32710"/>
                  </a:lnTo>
                  <a:lnTo>
                    <a:pt x="50709" y="36483"/>
                  </a:lnTo>
                  <a:lnTo>
                    <a:pt x="50997" y="41418"/>
                  </a:lnTo>
                  <a:lnTo>
                    <a:pt x="48404" y="40256"/>
                  </a:lnTo>
                  <a:lnTo>
                    <a:pt x="46964" y="40837"/>
                  </a:lnTo>
                  <a:lnTo>
                    <a:pt x="45523" y="42869"/>
                  </a:lnTo>
                  <a:lnTo>
                    <a:pt x="42354" y="47513"/>
                  </a:lnTo>
                  <a:lnTo>
                    <a:pt x="38896" y="51867"/>
                  </a:lnTo>
                  <a:lnTo>
                    <a:pt x="36015" y="56511"/>
                  </a:lnTo>
                  <a:lnTo>
                    <a:pt x="34574" y="58833"/>
                  </a:lnTo>
                  <a:lnTo>
                    <a:pt x="32846" y="59704"/>
                  </a:lnTo>
                  <a:lnTo>
                    <a:pt x="29676" y="58833"/>
                  </a:lnTo>
                  <a:lnTo>
                    <a:pt x="31693" y="55060"/>
                  </a:lnTo>
                  <a:lnTo>
                    <a:pt x="33998" y="51576"/>
                  </a:lnTo>
                  <a:lnTo>
                    <a:pt x="36015" y="48384"/>
                  </a:lnTo>
                  <a:lnTo>
                    <a:pt x="38320" y="44901"/>
                  </a:lnTo>
                  <a:lnTo>
                    <a:pt x="40913" y="41708"/>
                  </a:lnTo>
                  <a:lnTo>
                    <a:pt x="43506" y="38225"/>
                  </a:lnTo>
                  <a:lnTo>
                    <a:pt x="39761" y="35903"/>
                  </a:lnTo>
                  <a:lnTo>
                    <a:pt x="36303" y="33581"/>
                  </a:lnTo>
                  <a:lnTo>
                    <a:pt x="32558" y="31549"/>
                  </a:lnTo>
                  <a:lnTo>
                    <a:pt x="29964" y="31839"/>
                  </a:lnTo>
                  <a:lnTo>
                    <a:pt x="29100" y="32420"/>
                  </a:lnTo>
                  <a:lnTo>
                    <a:pt x="19712" y="40882"/>
                  </a:lnTo>
                  <a:lnTo>
                    <a:pt x="11231" y="50354"/>
                  </a:lnTo>
                  <a:lnTo>
                    <a:pt x="6338" y="56801"/>
                  </a:lnTo>
                  <a:lnTo>
                    <a:pt x="4898" y="59123"/>
                  </a:lnTo>
                  <a:lnTo>
                    <a:pt x="2881" y="59704"/>
                  </a:lnTo>
                  <a:lnTo>
                    <a:pt x="7292" y="48267"/>
                  </a:lnTo>
                  <a:lnTo>
                    <a:pt x="15767" y="38893"/>
                  </a:lnTo>
                  <a:lnTo>
                    <a:pt x="26896" y="28754"/>
                  </a:lnTo>
                  <a:lnTo>
                    <a:pt x="37316" y="21001"/>
                  </a:lnTo>
                  <a:lnTo>
                    <a:pt x="48269" y="14416"/>
                  </a:lnTo>
                  <a:lnTo>
                    <a:pt x="59769" y="9027"/>
                  </a:lnTo>
                  <a:lnTo>
                    <a:pt x="71826" y="4866"/>
                  </a:lnTo>
                  <a:lnTo>
                    <a:pt x="84453" y="1961"/>
                  </a:lnTo>
                  <a:lnTo>
                    <a:pt x="92776" y="782"/>
                  </a:lnTo>
                  <a:lnTo>
                    <a:pt x="108866" y="0"/>
                  </a:lnTo>
                  <a:lnTo>
                    <a:pt x="123980" y="976"/>
                  </a:lnTo>
                  <a:lnTo>
                    <a:pt x="138106" y="3522"/>
                  </a:lnTo>
                  <a:lnTo>
                    <a:pt x="151235" y="7447"/>
                  </a:lnTo>
                  <a:lnTo>
                    <a:pt x="163358" y="12563"/>
                  </a:lnTo>
                  <a:lnTo>
                    <a:pt x="151553" y="12682"/>
                  </a:lnTo>
                  <a:lnTo>
                    <a:pt x="148095" y="10650"/>
                  </a:lnTo>
                  <a:lnTo>
                    <a:pt x="145214" y="11231"/>
                  </a:lnTo>
                  <a:lnTo>
                    <a:pt x="142621" y="15295"/>
                  </a:lnTo>
                  <a:lnTo>
                    <a:pt x="153509" y="21944"/>
                  </a:lnTo>
                  <a:lnTo>
                    <a:pt x="163392" y="29910"/>
                  </a:lnTo>
                  <a:lnTo>
                    <a:pt x="167112" y="33290"/>
                  </a:lnTo>
                  <a:lnTo>
                    <a:pt x="167688" y="33871"/>
                  </a:lnTo>
                  <a:lnTo>
                    <a:pt x="169417" y="33871"/>
                  </a:lnTo>
                  <a:lnTo>
                    <a:pt x="169993" y="33581"/>
                  </a:lnTo>
                  <a:lnTo>
                    <a:pt x="172586" y="32420"/>
                  </a:lnTo>
                  <a:lnTo>
                    <a:pt x="174891" y="30968"/>
                  </a:lnTo>
                  <a:lnTo>
                    <a:pt x="177196" y="29517"/>
                  </a:lnTo>
                  <a:lnTo>
                    <a:pt x="179501" y="28066"/>
                  </a:lnTo>
                  <a:lnTo>
                    <a:pt x="184540" y="25610"/>
                  </a:lnTo>
                  <a:lnTo>
                    <a:pt x="193580" y="33161"/>
                  </a:lnTo>
                  <a:lnTo>
                    <a:pt x="201572" y="41146"/>
                  </a:lnTo>
                  <a:lnTo>
                    <a:pt x="208507" y="49375"/>
                  </a:lnTo>
                  <a:lnTo>
                    <a:pt x="214374" y="57658"/>
                  </a:lnTo>
                  <a:lnTo>
                    <a:pt x="214940" y="58543"/>
                  </a:lnTo>
                  <a:lnTo>
                    <a:pt x="212923" y="59704"/>
                  </a:lnTo>
                  <a:lnTo>
                    <a:pt x="210907" y="59704"/>
                  </a:lnTo>
                  <a:lnTo>
                    <a:pt x="209466" y="57672"/>
                  </a:lnTo>
                  <a:lnTo>
                    <a:pt x="205432" y="52737"/>
                  </a:lnTo>
                  <a:lnTo>
                    <a:pt x="201687" y="47513"/>
                  </a:lnTo>
                  <a:lnTo>
                    <a:pt x="197077" y="42869"/>
                  </a:lnTo>
                  <a:lnTo>
                    <a:pt x="193331" y="38805"/>
                  </a:lnTo>
                  <a:lnTo>
                    <a:pt x="189009" y="35032"/>
                  </a:lnTo>
                  <a:lnTo>
                    <a:pt x="184687" y="31549"/>
                  </a:lnTo>
                  <a:lnTo>
                    <a:pt x="184111" y="30968"/>
                  </a:lnTo>
                  <a:lnTo>
                    <a:pt x="182382" y="31259"/>
                  </a:lnTo>
                  <a:lnTo>
                    <a:pt x="181806" y="31839"/>
                  </a:lnTo>
                  <a:lnTo>
                    <a:pt x="179213" y="33000"/>
                  </a:lnTo>
                  <a:lnTo>
                    <a:pt x="176620" y="34742"/>
                  </a:lnTo>
                  <a:lnTo>
                    <a:pt x="174027" y="36193"/>
                  </a:lnTo>
                  <a:lnTo>
                    <a:pt x="171433" y="37934"/>
                  </a:lnTo>
                  <a:lnTo>
                    <a:pt x="171433" y="38225"/>
                  </a:lnTo>
                  <a:lnTo>
                    <a:pt x="173162" y="40547"/>
                  </a:lnTo>
                  <a:lnTo>
                    <a:pt x="176908" y="45771"/>
                  </a:lnTo>
                  <a:lnTo>
                    <a:pt x="180365" y="50706"/>
                  </a:lnTo>
                  <a:lnTo>
                    <a:pt x="183823" y="55930"/>
                  </a:lnTo>
                  <a:lnTo>
                    <a:pt x="184399" y="56801"/>
                  </a:lnTo>
                  <a:lnTo>
                    <a:pt x="184687" y="57672"/>
                  </a:lnTo>
                  <a:lnTo>
                    <a:pt x="185263" y="58833"/>
                  </a:lnTo>
                  <a:lnTo>
                    <a:pt x="182382" y="59704"/>
                  </a:lnTo>
                  <a:lnTo>
                    <a:pt x="180942" y="59123"/>
                  </a:lnTo>
                  <a:lnTo>
                    <a:pt x="179501" y="57091"/>
                  </a:lnTo>
                  <a:lnTo>
                    <a:pt x="176332" y="52157"/>
                  </a:lnTo>
                  <a:lnTo>
                    <a:pt x="172874" y="47513"/>
                  </a:lnTo>
                  <a:lnTo>
                    <a:pt x="169417" y="42579"/>
                  </a:lnTo>
                  <a:lnTo>
                    <a:pt x="168264" y="40547"/>
                  </a:lnTo>
                  <a:lnTo>
                    <a:pt x="166535" y="40256"/>
                  </a:lnTo>
                  <a:lnTo>
                    <a:pt x="164230" y="41127"/>
                  </a:lnTo>
                  <a:lnTo>
                    <a:pt x="159044" y="43449"/>
                  </a:lnTo>
                  <a:lnTo>
                    <a:pt x="153858" y="45191"/>
                  </a:lnTo>
                  <a:lnTo>
                    <a:pt x="148672" y="46932"/>
                  </a:lnTo>
                  <a:lnTo>
                    <a:pt x="146367" y="47513"/>
                  </a:lnTo>
                  <a:lnTo>
                    <a:pt x="146079" y="48384"/>
                  </a:lnTo>
                  <a:lnTo>
                    <a:pt x="146943" y="50415"/>
                  </a:lnTo>
                  <a:lnTo>
                    <a:pt x="147807" y="52157"/>
                  </a:lnTo>
                  <a:lnTo>
                    <a:pt x="148672" y="54189"/>
                  </a:lnTo>
                  <a:lnTo>
                    <a:pt x="149248" y="55930"/>
                  </a:lnTo>
                  <a:lnTo>
                    <a:pt x="149248" y="58833"/>
                  </a:lnTo>
                  <a:lnTo>
                    <a:pt x="148672" y="59123"/>
                  </a:lnTo>
                  <a:lnTo>
                    <a:pt x="147231" y="59704"/>
                  </a:lnTo>
                  <a:lnTo>
                    <a:pt x="145790" y="59413"/>
                  </a:lnTo>
                  <a:lnTo>
                    <a:pt x="145214" y="57672"/>
                  </a:lnTo>
                  <a:lnTo>
                    <a:pt x="144350" y="55350"/>
                  </a:lnTo>
                  <a:lnTo>
                    <a:pt x="143485" y="53318"/>
                  </a:lnTo>
                  <a:lnTo>
                    <a:pt x="142621" y="50996"/>
                  </a:lnTo>
                  <a:lnTo>
                    <a:pt x="142045" y="49254"/>
                  </a:lnTo>
                  <a:lnTo>
                    <a:pt x="141180" y="48964"/>
                  </a:lnTo>
                  <a:lnTo>
                    <a:pt x="139164" y="49254"/>
                  </a:lnTo>
                  <a:lnTo>
                    <a:pt x="126553" y="508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9" name="Google Shape;1929;p13"/>
            <p:cNvSpPr/>
            <p:nvPr/>
          </p:nvSpPr>
          <p:spPr>
            <a:xfrm>
              <a:off x="621567" y="7029075"/>
              <a:ext cx="4321" cy="11641"/>
            </a:xfrm>
            <a:custGeom>
              <a:avLst/>
              <a:gdLst/>
              <a:ahLst/>
              <a:cxnLst/>
              <a:rect l="l" t="t" r="r" b="b"/>
              <a:pathLst>
                <a:path w="4321" h="11641" extrusionOk="0">
                  <a:moveTo>
                    <a:pt x="864" y="8158"/>
                  </a:moveTo>
                  <a:lnTo>
                    <a:pt x="1728" y="5546"/>
                  </a:lnTo>
                  <a:lnTo>
                    <a:pt x="2881" y="3224"/>
                  </a:lnTo>
                  <a:lnTo>
                    <a:pt x="3948" y="0"/>
                  </a:lnTo>
                  <a:lnTo>
                    <a:pt x="4321" y="11351"/>
                  </a:lnTo>
                  <a:lnTo>
                    <a:pt x="2593" y="11641"/>
                  </a:lnTo>
                  <a:lnTo>
                    <a:pt x="0" y="10770"/>
                  </a:lnTo>
                  <a:lnTo>
                    <a:pt x="864" y="81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0" name="Google Shape;1930;p13"/>
            <p:cNvSpPr/>
            <p:nvPr/>
          </p:nvSpPr>
          <p:spPr>
            <a:xfrm>
              <a:off x="605432" y="6998920"/>
              <a:ext cx="18728" cy="18576"/>
            </a:xfrm>
            <a:custGeom>
              <a:avLst/>
              <a:gdLst/>
              <a:ahLst/>
              <a:cxnLst/>
              <a:rect l="l" t="t" r="r" b="b"/>
              <a:pathLst>
                <a:path w="18728" h="18576" extrusionOk="0">
                  <a:moveTo>
                    <a:pt x="6050" y="9578"/>
                  </a:moveTo>
                  <a:lnTo>
                    <a:pt x="12389" y="4934"/>
                  </a:lnTo>
                  <a:lnTo>
                    <a:pt x="18728" y="0"/>
                  </a:lnTo>
                  <a:lnTo>
                    <a:pt x="17287" y="5805"/>
                  </a:lnTo>
                  <a:lnTo>
                    <a:pt x="13541" y="8707"/>
                  </a:lnTo>
                  <a:lnTo>
                    <a:pt x="9508" y="11610"/>
                  </a:lnTo>
                  <a:lnTo>
                    <a:pt x="6050" y="15093"/>
                  </a:lnTo>
                  <a:lnTo>
                    <a:pt x="1728" y="18576"/>
                  </a:lnTo>
                  <a:lnTo>
                    <a:pt x="0" y="14803"/>
                  </a:lnTo>
                  <a:lnTo>
                    <a:pt x="6050" y="95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1" name="Google Shape;1931;p13"/>
            <p:cNvSpPr/>
            <p:nvPr/>
          </p:nvSpPr>
          <p:spPr>
            <a:xfrm>
              <a:off x="557676" y="7208821"/>
              <a:ext cx="38639" cy="56841"/>
            </a:xfrm>
            <a:custGeom>
              <a:avLst/>
              <a:gdLst/>
              <a:ahLst/>
              <a:cxnLst/>
              <a:rect l="l" t="t" r="r" b="b"/>
              <a:pathLst>
                <a:path w="38639" h="56841" extrusionOk="0">
                  <a:moveTo>
                    <a:pt x="36082" y="7751"/>
                  </a:moveTo>
                  <a:lnTo>
                    <a:pt x="37503" y="10334"/>
                  </a:lnTo>
                  <a:lnTo>
                    <a:pt x="38355" y="13205"/>
                  </a:lnTo>
                  <a:lnTo>
                    <a:pt x="38355" y="19808"/>
                  </a:lnTo>
                  <a:lnTo>
                    <a:pt x="37503" y="22966"/>
                  </a:lnTo>
                  <a:lnTo>
                    <a:pt x="35798" y="26124"/>
                  </a:lnTo>
                  <a:lnTo>
                    <a:pt x="34093" y="29282"/>
                  </a:lnTo>
                  <a:lnTo>
                    <a:pt x="31252" y="32726"/>
                  </a:lnTo>
                  <a:lnTo>
                    <a:pt x="26706" y="36171"/>
                  </a:lnTo>
                  <a:lnTo>
                    <a:pt x="24149" y="38468"/>
                  </a:lnTo>
                  <a:lnTo>
                    <a:pt x="22445" y="39903"/>
                  </a:lnTo>
                  <a:lnTo>
                    <a:pt x="21592" y="40765"/>
                  </a:lnTo>
                  <a:lnTo>
                    <a:pt x="20740" y="41626"/>
                  </a:lnTo>
                  <a:lnTo>
                    <a:pt x="19603" y="42774"/>
                  </a:lnTo>
                  <a:lnTo>
                    <a:pt x="18467" y="44210"/>
                  </a:lnTo>
                  <a:lnTo>
                    <a:pt x="38639" y="44210"/>
                  </a:lnTo>
                  <a:lnTo>
                    <a:pt x="38639" y="56841"/>
                  </a:lnTo>
                  <a:lnTo>
                    <a:pt x="0" y="56841"/>
                  </a:lnTo>
                  <a:lnTo>
                    <a:pt x="568" y="52248"/>
                  </a:lnTo>
                  <a:lnTo>
                    <a:pt x="1704" y="47942"/>
                  </a:lnTo>
                  <a:lnTo>
                    <a:pt x="3977" y="43922"/>
                  </a:lnTo>
                  <a:lnTo>
                    <a:pt x="6250" y="39903"/>
                  </a:lnTo>
                  <a:lnTo>
                    <a:pt x="10512" y="35023"/>
                  </a:lnTo>
                  <a:lnTo>
                    <a:pt x="16762" y="29569"/>
                  </a:lnTo>
                  <a:lnTo>
                    <a:pt x="20456" y="26124"/>
                  </a:lnTo>
                  <a:lnTo>
                    <a:pt x="22729" y="23540"/>
                  </a:lnTo>
                  <a:lnTo>
                    <a:pt x="23865" y="21817"/>
                  </a:lnTo>
                  <a:lnTo>
                    <a:pt x="25002" y="20095"/>
                  </a:lnTo>
                  <a:lnTo>
                    <a:pt x="25570" y="18373"/>
                  </a:lnTo>
                  <a:lnTo>
                    <a:pt x="25570" y="15215"/>
                  </a:lnTo>
                  <a:lnTo>
                    <a:pt x="25002" y="13779"/>
                  </a:lnTo>
                  <a:lnTo>
                    <a:pt x="23865" y="12344"/>
                  </a:lnTo>
                  <a:lnTo>
                    <a:pt x="23013" y="11196"/>
                  </a:lnTo>
                  <a:lnTo>
                    <a:pt x="21592" y="10621"/>
                  </a:lnTo>
                  <a:lnTo>
                    <a:pt x="18467" y="10621"/>
                  </a:lnTo>
                  <a:lnTo>
                    <a:pt x="17046" y="11196"/>
                  </a:lnTo>
                  <a:lnTo>
                    <a:pt x="15910" y="12631"/>
                  </a:lnTo>
                  <a:lnTo>
                    <a:pt x="14774" y="13779"/>
                  </a:lnTo>
                  <a:lnTo>
                    <a:pt x="14205" y="16076"/>
                  </a:lnTo>
                  <a:lnTo>
                    <a:pt x="13921" y="19234"/>
                  </a:lnTo>
                  <a:lnTo>
                    <a:pt x="852" y="17798"/>
                  </a:lnTo>
                  <a:lnTo>
                    <a:pt x="1420" y="13492"/>
                  </a:lnTo>
                  <a:lnTo>
                    <a:pt x="2272" y="10047"/>
                  </a:lnTo>
                  <a:lnTo>
                    <a:pt x="3693" y="7751"/>
                  </a:lnTo>
                  <a:lnTo>
                    <a:pt x="5114" y="5167"/>
                  </a:lnTo>
                  <a:lnTo>
                    <a:pt x="7102" y="3444"/>
                  </a:lnTo>
                  <a:lnTo>
                    <a:pt x="9375" y="2009"/>
                  </a:lnTo>
                  <a:lnTo>
                    <a:pt x="11932" y="574"/>
                  </a:lnTo>
                  <a:lnTo>
                    <a:pt x="15342" y="0"/>
                  </a:lnTo>
                  <a:lnTo>
                    <a:pt x="24149" y="0"/>
                  </a:lnTo>
                  <a:lnTo>
                    <a:pt x="27559" y="574"/>
                  </a:lnTo>
                  <a:lnTo>
                    <a:pt x="30116" y="2009"/>
                  </a:lnTo>
                  <a:lnTo>
                    <a:pt x="32673" y="3157"/>
                  </a:lnTo>
                  <a:lnTo>
                    <a:pt x="34662" y="5167"/>
                  </a:lnTo>
                  <a:lnTo>
                    <a:pt x="36082" y="7751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2" name="Google Shape;1932;p13"/>
            <p:cNvSpPr/>
            <p:nvPr/>
          </p:nvSpPr>
          <p:spPr>
            <a:xfrm>
              <a:off x="602355" y="7210026"/>
              <a:ext cx="37432" cy="55631"/>
            </a:xfrm>
            <a:custGeom>
              <a:avLst/>
              <a:gdLst/>
              <a:ahLst/>
              <a:cxnLst/>
              <a:rect l="l" t="t" r="r" b="b"/>
              <a:pathLst>
                <a:path w="37432" h="55631" extrusionOk="0">
                  <a:moveTo>
                    <a:pt x="22796" y="13123"/>
                  </a:moveTo>
                  <a:lnTo>
                    <a:pt x="0" y="13123"/>
                  </a:lnTo>
                  <a:lnTo>
                    <a:pt x="0" y="0"/>
                  </a:lnTo>
                  <a:lnTo>
                    <a:pt x="37432" y="0"/>
                  </a:lnTo>
                  <a:lnTo>
                    <a:pt x="37432" y="10555"/>
                  </a:lnTo>
                  <a:lnTo>
                    <a:pt x="34054" y="13979"/>
                  </a:lnTo>
                  <a:lnTo>
                    <a:pt x="31240" y="17973"/>
                  </a:lnTo>
                  <a:lnTo>
                    <a:pt x="29270" y="21967"/>
                  </a:lnTo>
                  <a:lnTo>
                    <a:pt x="26455" y="27102"/>
                  </a:lnTo>
                  <a:lnTo>
                    <a:pt x="24485" y="32523"/>
                  </a:lnTo>
                  <a:lnTo>
                    <a:pt x="23078" y="38799"/>
                  </a:lnTo>
                  <a:lnTo>
                    <a:pt x="21671" y="43649"/>
                  </a:lnTo>
                  <a:lnTo>
                    <a:pt x="20826" y="49070"/>
                  </a:lnTo>
                  <a:lnTo>
                    <a:pt x="20545" y="55631"/>
                  </a:lnTo>
                  <a:lnTo>
                    <a:pt x="7880" y="55631"/>
                  </a:lnTo>
                  <a:lnTo>
                    <a:pt x="8724" y="46502"/>
                  </a:lnTo>
                  <a:lnTo>
                    <a:pt x="10413" y="39084"/>
                  </a:lnTo>
                  <a:lnTo>
                    <a:pt x="12664" y="32808"/>
                  </a:lnTo>
                  <a:lnTo>
                    <a:pt x="14635" y="26817"/>
                  </a:lnTo>
                  <a:lnTo>
                    <a:pt x="18012" y="20255"/>
                  </a:lnTo>
                  <a:lnTo>
                    <a:pt x="22796" y="13123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3" name="Google Shape;1933;p13"/>
            <p:cNvSpPr/>
            <p:nvPr/>
          </p:nvSpPr>
          <p:spPr>
            <a:xfrm>
              <a:off x="664997" y="7208812"/>
              <a:ext cx="6101" cy="14081"/>
            </a:xfrm>
            <a:custGeom>
              <a:avLst/>
              <a:gdLst/>
              <a:ahLst/>
              <a:cxnLst/>
              <a:rect l="l" t="t" r="r" b="b"/>
              <a:pathLst>
                <a:path w="6101" h="14081" extrusionOk="0">
                  <a:moveTo>
                    <a:pt x="0" y="10345"/>
                  </a:moveTo>
                  <a:lnTo>
                    <a:pt x="290" y="0"/>
                  </a:lnTo>
                  <a:lnTo>
                    <a:pt x="3486" y="0"/>
                  </a:lnTo>
                  <a:lnTo>
                    <a:pt x="6101" y="574"/>
                  </a:lnTo>
                  <a:lnTo>
                    <a:pt x="4648" y="14081"/>
                  </a:lnTo>
                  <a:lnTo>
                    <a:pt x="3776" y="11782"/>
                  </a:lnTo>
                  <a:lnTo>
                    <a:pt x="2033" y="10345"/>
                  </a:lnTo>
                  <a:lnTo>
                    <a:pt x="0" y="1034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4" name="Google Shape;1934;p13"/>
            <p:cNvSpPr/>
            <p:nvPr/>
          </p:nvSpPr>
          <p:spPr>
            <a:xfrm>
              <a:off x="645823" y="7208812"/>
              <a:ext cx="38639" cy="58050"/>
            </a:xfrm>
            <a:custGeom>
              <a:avLst/>
              <a:gdLst/>
              <a:ahLst/>
              <a:cxnLst/>
              <a:rect l="l" t="t" r="r" b="b"/>
              <a:pathLst>
                <a:path w="38639" h="58050" extrusionOk="0">
                  <a:moveTo>
                    <a:pt x="13364" y="16955"/>
                  </a:moveTo>
                  <a:lnTo>
                    <a:pt x="13073" y="21840"/>
                  </a:lnTo>
                  <a:lnTo>
                    <a:pt x="13073" y="35922"/>
                  </a:lnTo>
                  <a:lnTo>
                    <a:pt x="13364" y="40807"/>
                  </a:lnTo>
                  <a:lnTo>
                    <a:pt x="14526" y="43394"/>
                  </a:lnTo>
                  <a:lnTo>
                    <a:pt x="15688" y="45980"/>
                  </a:lnTo>
                  <a:lnTo>
                    <a:pt x="17140" y="47417"/>
                  </a:lnTo>
                  <a:lnTo>
                    <a:pt x="20627" y="47417"/>
                  </a:lnTo>
                  <a:lnTo>
                    <a:pt x="21789" y="46842"/>
                  </a:lnTo>
                  <a:lnTo>
                    <a:pt x="22660" y="45693"/>
                  </a:lnTo>
                  <a:lnTo>
                    <a:pt x="23532" y="44543"/>
                  </a:lnTo>
                  <a:lnTo>
                    <a:pt x="24404" y="42819"/>
                  </a:lnTo>
                  <a:lnTo>
                    <a:pt x="24694" y="40520"/>
                  </a:lnTo>
                  <a:lnTo>
                    <a:pt x="25275" y="37933"/>
                  </a:lnTo>
                  <a:lnTo>
                    <a:pt x="25566" y="34197"/>
                  </a:lnTo>
                  <a:lnTo>
                    <a:pt x="25566" y="21840"/>
                  </a:lnTo>
                  <a:lnTo>
                    <a:pt x="24985" y="16667"/>
                  </a:lnTo>
                  <a:lnTo>
                    <a:pt x="23822" y="14081"/>
                  </a:lnTo>
                  <a:lnTo>
                    <a:pt x="25275" y="574"/>
                  </a:lnTo>
                  <a:lnTo>
                    <a:pt x="27309" y="1436"/>
                  </a:lnTo>
                  <a:lnTo>
                    <a:pt x="29342" y="2299"/>
                  </a:lnTo>
                  <a:lnTo>
                    <a:pt x="31086" y="3448"/>
                  </a:lnTo>
                  <a:lnTo>
                    <a:pt x="32538" y="5172"/>
                  </a:lnTo>
                  <a:lnTo>
                    <a:pt x="33700" y="6609"/>
                  </a:lnTo>
                  <a:lnTo>
                    <a:pt x="34862" y="8046"/>
                  </a:lnTo>
                  <a:lnTo>
                    <a:pt x="35443" y="9770"/>
                  </a:lnTo>
                  <a:lnTo>
                    <a:pt x="36315" y="11495"/>
                  </a:lnTo>
                  <a:lnTo>
                    <a:pt x="36896" y="13219"/>
                  </a:lnTo>
                  <a:lnTo>
                    <a:pt x="37187" y="15518"/>
                  </a:lnTo>
                  <a:lnTo>
                    <a:pt x="38058" y="19541"/>
                  </a:lnTo>
                  <a:lnTo>
                    <a:pt x="38639" y="24139"/>
                  </a:lnTo>
                  <a:lnTo>
                    <a:pt x="38639" y="38795"/>
                  </a:lnTo>
                  <a:lnTo>
                    <a:pt x="37187" y="46267"/>
                  </a:lnTo>
                  <a:lnTo>
                    <a:pt x="34281" y="50865"/>
                  </a:lnTo>
                  <a:lnTo>
                    <a:pt x="31376" y="55463"/>
                  </a:lnTo>
                  <a:lnTo>
                    <a:pt x="26437" y="58050"/>
                  </a:lnTo>
                  <a:lnTo>
                    <a:pt x="15107" y="58050"/>
                  </a:lnTo>
                  <a:lnTo>
                    <a:pt x="11911" y="57188"/>
                  </a:lnTo>
                  <a:lnTo>
                    <a:pt x="9587" y="55751"/>
                  </a:lnTo>
                  <a:lnTo>
                    <a:pt x="6972" y="54314"/>
                  </a:lnTo>
                  <a:lnTo>
                    <a:pt x="4938" y="52015"/>
                  </a:lnTo>
                  <a:lnTo>
                    <a:pt x="3486" y="49141"/>
                  </a:lnTo>
                  <a:lnTo>
                    <a:pt x="2324" y="47129"/>
                  </a:lnTo>
                  <a:lnTo>
                    <a:pt x="1452" y="44256"/>
                  </a:lnTo>
                  <a:lnTo>
                    <a:pt x="871" y="40520"/>
                  </a:lnTo>
                  <a:lnTo>
                    <a:pt x="290" y="37071"/>
                  </a:lnTo>
                  <a:lnTo>
                    <a:pt x="0" y="33048"/>
                  </a:lnTo>
                  <a:lnTo>
                    <a:pt x="0" y="18104"/>
                  </a:lnTo>
                  <a:lnTo>
                    <a:pt x="1452" y="10632"/>
                  </a:lnTo>
                  <a:lnTo>
                    <a:pt x="4648" y="6322"/>
                  </a:lnTo>
                  <a:lnTo>
                    <a:pt x="7844" y="2011"/>
                  </a:lnTo>
                  <a:lnTo>
                    <a:pt x="12783" y="0"/>
                  </a:lnTo>
                  <a:lnTo>
                    <a:pt x="19465" y="0"/>
                  </a:lnTo>
                  <a:lnTo>
                    <a:pt x="19174" y="10345"/>
                  </a:lnTo>
                  <a:lnTo>
                    <a:pt x="16850" y="10345"/>
                  </a:lnTo>
                  <a:lnTo>
                    <a:pt x="15397" y="11782"/>
                  </a:lnTo>
                  <a:lnTo>
                    <a:pt x="14526" y="14368"/>
                  </a:lnTo>
                  <a:lnTo>
                    <a:pt x="13364" y="1695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5" name="Google Shape;1935;p13"/>
            <p:cNvSpPr/>
            <p:nvPr/>
          </p:nvSpPr>
          <p:spPr>
            <a:xfrm>
              <a:off x="708465" y="7208808"/>
              <a:ext cx="6101" cy="14081"/>
            </a:xfrm>
            <a:custGeom>
              <a:avLst/>
              <a:gdLst/>
              <a:ahLst/>
              <a:cxnLst/>
              <a:rect l="l" t="t" r="r" b="b"/>
              <a:pathLst>
                <a:path w="6101" h="14081" extrusionOk="0">
                  <a:moveTo>
                    <a:pt x="0" y="10345"/>
                  </a:moveTo>
                  <a:lnTo>
                    <a:pt x="290" y="0"/>
                  </a:lnTo>
                  <a:lnTo>
                    <a:pt x="3486" y="0"/>
                  </a:lnTo>
                  <a:lnTo>
                    <a:pt x="6101" y="574"/>
                  </a:lnTo>
                  <a:lnTo>
                    <a:pt x="4648" y="14081"/>
                  </a:lnTo>
                  <a:lnTo>
                    <a:pt x="3776" y="11782"/>
                  </a:lnTo>
                  <a:lnTo>
                    <a:pt x="2033" y="10345"/>
                  </a:lnTo>
                  <a:lnTo>
                    <a:pt x="0" y="1034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6" name="Google Shape;1936;p13"/>
            <p:cNvSpPr/>
            <p:nvPr/>
          </p:nvSpPr>
          <p:spPr>
            <a:xfrm>
              <a:off x="689291" y="7208808"/>
              <a:ext cx="38639" cy="58049"/>
            </a:xfrm>
            <a:custGeom>
              <a:avLst/>
              <a:gdLst/>
              <a:ahLst/>
              <a:cxnLst/>
              <a:rect l="l" t="t" r="r" b="b"/>
              <a:pathLst>
                <a:path w="38639" h="58049" extrusionOk="0">
                  <a:moveTo>
                    <a:pt x="13364" y="16955"/>
                  </a:moveTo>
                  <a:lnTo>
                    <a:pt x="13073" y="21840"/>
                  </a:lnTo>
                  <a:lnTo>
                    <a:pt x="13073" y="35922"/>
                  </a:lnTo>
                  <a:lnTo>
                    <a:pt x="13364" y="40807"/>
                  </a:lnTo>
                  <a:lnTo>
                    <a:pt x="14526" y="43393"/>
                  </a:lnTo>
                  <a:lnTo>
                    <a:pt x="15688" y="45980"/>
                  </a:lnTo>
                  <a:lnTo>
                    <a:pt x="17141" y="47417"/>
                  </a:lnTo>
                  <a:lnTo>
                    <a:pt x="20627" y="47417"/>
                  </a:lnTo>
                  <a:lnTo>
                    <a:pt x="21789" y="46842"/>
                  </a:lnTo>
                  <a:lnTo>
                    <a:pt x="22661" y="45692"/>
                  </a:lnTo>
                  <a:lnTo>
                    <a:pt x="23823" y="44543"/>
                  </a:lnTo>
                  <a:lnTo>
                    <a:pt x="24404" y="42818"/>
                  </a:lnTo>
                  <a:lnTo>
                    <a:pt x="24985" y="40519"/>
                  </a:lnTo>
                  <a:lnTo>
                    <a:pt x="25275" y="37933"/>
                  </a:lnTo>
                  <a:lnTo>
                    <a:pt x="25566" y="34197"/>
                  </a:lnTo>
                  <a:lnTo>
                    <a:pt x="25566" y="21840"/>
                  </a:lnTo>
                  <a:lnTo>
                    <a:pt x="24985" y="16667"/>
                  </a:lnTo>
                  <a:lnTo>
                    <a:pt x="23823" y="14081"/>
                  </a:lnTo>
                  <a:lnTo>
                    <a:pt x="25275" y="574"/>
                  </a:lnTo>
                  <a:lnTo>
                    <a:pt x="27599" y="1436"/>
                  </a:lnTo>
                  <a:lnTo>
                    <a:pt x="29633" y="2299"/>
                  </a:lnTo>
                  <a:lnTo>
                    <a:pt x="31086" y="3448"/>
                  </a:lnTo>
                  <a:lnTo>
                    <a:pt x="32538" y="5172"/>
                  </a:lnTo>
                  <a:lnTo>
                    <a:pt x="33700" y="6609"/>
                  </a:lnTo>
                  <a:lnTo>
                    <a:pt x="34863" y="8046"/>
                  </a:lnTo>
                  <a:lnTo>
                    <a:pt x="35444" y="9770"/>
                  </a:lnTo>
                  <a:lnTo>
                    <a:pt x="36315" y="11494"/>
                  </a:lnTo>
                  <a:lnTo>
                    <a:pt x="36896" y="13219"/>
                  </a:lnTo>
                  <a:lnTo>
                    <a:pt x="37477" y="15518"/>
                  </a:lnTo>
                  <a:lnTo>
                    <a:pt x="38349" y="19541"/>
                  </a:lnTo>
                  <a:lnTo>
                    <a:pt x="38639" y="24139"/>
                  </a:lnTo>
                  <a:lnTo>
                    <a:pt x="38639" y="38795"/>
                  </a:lnTo>
                  <a:lnTo>
                    <a:pt x="37187" y="46267"/>
                  </a:lnTo>
                  <a:lnTo>
                    <a:pt x="34282" y="50865"/>
                  </a:lnTo>
                  <a:lnTo>
                    <a:pt x="31376" y="55463"/>
                  </a:lnTo>
                  <a:lnTo>
                    <a:pt x="26437" y="58049"/>
                  </a:lnTo>
                  <a:lnTo>
                    <a:pt x="15397" y="58049"/>
                  </a:lnTo>
                  <a:lnTo>
                    <a:pt x="11911" y="57187"/>
                  </a:lnTo>
                  <a:lnTo>
                    <a:pt x="9587" y="55750"/>
                  </a:lnTo>
                  <a:lnTo>
                    <a:pt x="7263" y="54313"/>
                  </a:lnTo>
                  <a:lnTo>
                    <a:pt x="5229" y="52015"/>
                  </a:lnTo>
                  <a:lnTo>
                    <a:pt x="3486" y="49141"/>
                  </a:lnTo>
                  <a:lnTo>
                    <a:pt x="2324" y="47129"/>
                  </a:lnTo>
                  <a:lnTo>
                    <a:pt x="1452" y="44255"/>
                  </a:lnTo>
                  <a:lnTo>
                    <a:pt x="871" y="40519"/>
                  </a:lnTo>
                  <a:lnTo>
                    <a:pt x="290" y="37071"/>
                  </a:lnTo>
                  <a:lnTo>
                    <a:pt x="0" y="33048"/>
                  </a:lnTo>
                  <a:lnTo>
                    <a:pt x="0" y="18104"/>
                  </a:lnTo>
                  <a:lnTo>
                    <a:pt x="1452" y="10632"/>
                  </a:lnTo>
                  <a:lnTo>
                    <a:pt x="4648" y="6322"/>
                  </a:lnTo>
                  <a:lnTo>
                    <a:pt x="8134" y="2011"/>
                  </a:lnTo>
                  <a:lnTo>
                    <a:pt x="13073" y="0"/>
                  </a:lnTo>
                  <a:lnTo>
                    <a:pt x="19465" y="0"/>
                  </a:lnTo>
                  <a:lnTo>
                    <a:pt x="19174" y="10345"/>
                  </a:lnTo>
                  <a:lnTo>
                    <a:pt x="16850" y="10345"/>
                  </a:lnTo>
                  <a:lnTo>
                    <a:pt x="15397" y="11782"/>
                  </a:lnTo>
                  <a:lnTo>
                    <a:pt x="14526" y="14368"/>
                  </a:lnTo>
                  <a:lnTo>
                    <a:pt x="13364" y="16955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7" name="Google Shape;1937;p13"/>
            <p:cNvSpPr/>
            <p:nvPr/>
          </p:nvSpPr>
          <p:spPr>
            <a:xfrm>
              <a:off x="735174" y="7208839"/>
              <a:ext cx="27772" cy="56843"/>
            </a:xfrm>
            <a:custGeom>
              <a:avLst/>
              <a:gdLst/>
              <a:ahLst/>
              <a:cxnLst/>
              <a:rect l="l" t="t" r="r" b="b"/>
              <a:pathLst>
                <a:path w="27772" h="56843" extrusionOk="0">
                  <a:moveTo>
                    <a:pt x="5613" y="25550"/>
                  </a:moveTo>
                  <a:lnTo>
                    <a:pt x="3249" y="26698"/>
                  </a:lnTo>
                  <a:lnTo>
                    <a:pt x="0" y="27847"/>
                  </a:lnTo>
                  <a:lnTo>
                    <a:pt x="0" y="14928"/>
                  </a:lnTo>
                  <a:lnTo>
                    <a:pt x="4431" y="13205"/>
                  </a:lnTo>
                  <a:lnTo>
                    <a:pt x="7977" y="11196"/>
                  </a:lnTo>
                  <a:lnTo>
                    <a:pt x="10636" y="8899"/>
                  </a:lnTo>
                  <a:lnTo>
                    <a:pt x="13295" y="6602"/>
                  </a:lnTo>
                  <a:lnTo>
                    <a:pt x="15068" y="3445"/>
                  </a:lnTo>
                  <a:lnTo>
                    <a:pt x="16545" y="0"/>
                  </a:lnTo>
                  <a:lnTo>
                    <a:pt x="27772" y="0"/>
                  </a:lnTo>
                  <a:lnTo>
                    <a:pt x="27772" y="56843"/>
                  </a:lnTo>
                  <a:lnTo>
                    <a:pt x="14181" y="56843"/>
                  </a:lnTo>
                  <a:lnTo>
                    <a:pt x="14181" y="19521"/>
                  </a:lnTo>
                  <a:lnTo>
                    <a:pt x="11818" y="21531"/>
                  </a:lnTo>
                  <a:lnTo>
                    <a:pt x="9749" y="23254"/>
                  </a:lnTo>
                  <a:lnTo>
                    <a:pt x="7681" y="24402"/>
                  </a:lnTo>
                  <a:lnTo>
                    <a:pt x="5613" y="25550"/>
                  </a:lnTo>
                  <a:close/>
                </a:path>
              </a:pathLst>
            </a:custGeom>
            <a:solidFill>
              <a:srgbClr val="07539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938" name="Google Shape;1938;p13"/>
          <p:cNvGrpSpPr/>
          <p:nvPr/>
        </p:nvGrpSpPr>
        <p:grpSpPr>
          <a:xfrm>
            <a:off x="3945835" y="1408162"/>
            <a:ext cx="7695303" cy="1228028"/>
            <a:chOff x="3945835" y="992301"/>
            <a:chExt cx="7695303" cy="1228028"/>
          </a:xfrm>
        </p:grpSpPr>
        <p:sp>
          <p:nvSpPr>
            <p:cNvPr id="1939" name="Google Shape;1939;p13"/>
            <p:cNvSpPr/>
            <p:nvPr/>
          </p:nvSpPr>
          <p:spPr>
            <a:xfrm>
              <a:off x="6991109" y="992301"/>
              <a:ext cx="4650029" cy="122802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76213" marR="0" lvl="1" indent="-176213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260"/>
                <a:buFont typeface="Noto Sans Symbols"/>
                <a:buChar char="▪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Combination of Data Analytics and Data Research methodologies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/>
                <a:cs typeface="Arial"/>
                <a:sym typeface="Arial"/>
              </a:endParaRPr>
            </a:p>
            <a:p>
              <a:pPr marL="176213" marR="0" lvl="1" indent="-176213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260"/>
                <a:buFont typeface="Noto Sans Symbols"/>
                <a:buChar char="▪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Opportunity to work with a unique professional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network 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/>
                <a:cs typeface="Arial"/>
                <a:sym typeface="Arial"/>
              </a:endParaRPr>
            </a:p>
            <a:p>
              <a:pPr marL="176213" marR="0" lvl="1" indent="-176213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260"/>
                <a:buFont typeface="Noto Sans Symbols"/>
                <a:buChar char="▪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Top-class InfoSec credentials - ISO certified &amp; RGPD Compliance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40" name="Google Shape;1940;p13"/>
            <p:cNvSpPr/>
            <p:nvPr/>
          </p:nvSpPr>
          <p:spPr>
            <a:xfrm>
              <a:off x="5015880" y="1280757"/>
              <a:ext cx="1776363" cy="66479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B9FF"/>
                  </a:solidFill>
                  <a:effectLst/>
                  <a:uLnTx/>
                  <a:uFillTx/>
                  <a:latin typeface="Franklin Gothic"/>
                  <a:ea typeface="Franklin Gothic"/>
                  <a:cs typeface="Franklin Gothic"/>
                  <a:sym typeface="Franklin Gothic"/>
                </a:rPr>
                <a:t>World class Data Analytics capabilities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41" name="Google Shape;1941;p13"/>
            <p:cNvSpPr/>
            <p:nvPr/>
          </p:nvSpPr>
          <p:spPr>
            <a:xfrm>
              <a:off x="3945835" y="1150377"/>
              <a:ext cx="925556" cy="925556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635000" algn="t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942" name="Google Shape;1942;p13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4144306" y="1347276"/>
              <a:ext cx="531758" cy="53175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944" name="Google Shape;1944;p13"/>
          <p:cNvSpPr/>
          <p:nvPr/>
        </p:nvSpPr>
        <p:spPr>
          <a:xfrm>
            <a:off x="6979209" y="2890468"/>
            <a:ext cx="4812986" cy="1023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  <a:tabLst/>
              <a:defRPr/>
            </a:pPr>
            <a:r>
              <a:rPr kumimoji="0" lang="fr-MA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Management of </a:t>
            </a:r>
            <a:r>
              <a:rPr kumimoji="0" lang="fr-MA" sz="14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specific</a:t>
            </a:r>
            <a:r>
              <a:rPr kumimoji="0" lang="fr-MA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 </a:t>
            </a:r>
            <a:r>
              <a:rPr kumimoji="0" lang="fr-MA" sz="14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day</a:t>
            </a:r>
            <a:r>
              <a:rPr kumimoji="0" lang="fr-MA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-to-</a:t>
            </a:r>
            <a:r>
              <a:rPr kumimoji="0" lang="fr-MA" sz="14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day</a:t>
            </a:r>
            <a:r>
              <a:rPr kumimoji="0" lang="fr-MA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 </a:t>
            </a:r>
            <a:r>
              <a:rPr kumimoji="0" lang="fr-MA" sz="14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tasks</a:t>
            </a:r>
            <a:r>
              <a:rPr kumimoji="0" lang="fr-MA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 or full end-to-end </a:t>
            </a:r>
            <a:r>
              <a:rPr kumimoji="0" lang="fr-MA" sz="14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projects</a:t>
            </a:r>
            <a:r>
              <a:rPr kumimoji="0" lang="fr-MA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 </a:t>
            </a:r>
          </a:p>
          <a:p>
            <a:pPr marL="176213" marR="0" lvl="1" indent="-176213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  <a:tabLst/>
              <a:defRPr/>
            </a:pPr>
            <a:r>
              <a:rPr kumimoji="0" lang="fr-MA" sz="14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Continued</a:t>
            </a:r>
            <a:r>
              <a:rPr kumimoji="0" lang="fr-MA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 support in the long run to </a:t>
            </a:r>
            <a:r>
              <a:rPr kumimoji="0" lang="fr-MA" sz="14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maintain</a:t>
            </a:r>
            <a:r>
              <a:rPr kumimoji="0" lang="fr-MA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 and </a:t>
            </a:r>
            <a:r>
              <a:rPr kumimoji="0" lang="fr-MA" sz="14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adjust</a:t>
            </a:r>
            <a:r>
              <a:rPr kumimoji="0" lang="fr-MA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 solutions 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cs typeface="Calibri"/>
              <a:sym typeface="Arial"/>
            </a:endParaRPr>
          </a:p>
          <a:p>
            <a:pPr marL="176213" marR="0" lvl="1" indent="-176213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260"/>
              <a:buFont typeface="Noto Sans Symbols"/>
              <a:buChar char="▪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Full compliance with confidentiality and ethics best practice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cs typeface="Calibri"/>
              <a:sym typeface="Arial"/>
            </a:endParaRPr>
          </a:p>
        </p:txBody>
      </p:sp>
      <p:sp>
        <p:nvSpPr>
          <p:cNvPr id="1945" name="Google Shape;1945;p13"/>
          <p:cNvSpPr/>
          <p:nvPr/>
        </p:nvSpPr>
        <p:spPr>
          <a:xfrm>
            <a:off x="5013665" y="3273773"/>
            <a:ext cx="1779405" cy="2339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B9FF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  <a:t>Adaptability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46" name="Google Shape;1946;p13"/>
          <p:cNvSpPr/>
          <p:nvPr/>
        </p:nvSpPr>
        <p:spPr>
          <a:xfrm>
            <a:off x="3945835" y="2927950"/>
            <a:ext cx="925556" cy="925556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blurRad="635000" algn="tl" rotWithShape="0">
              <a:srgbClr val="000000">
                <a:alpha val="2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7" name="Google Shape;1947;p1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144618" y="3130654"/>
            <a:ext cx="520148" cy="52014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48" name="Google Shape;1948;p13"/>
          <p:cNvGrpSpPr/>
          <p:nvPr/>
        </p:nvGrpSpPr>
        <p:grpSpPr>
          <a:xfrm>
            <a:off x="3945835" y="4113005"/>
            <a:ext cx="7695300" cy="925556"/>
            <a:chOff x="3945835" y="4036050"/>
            <a:chExt cx="7695300" cy="925556"/>
          </a:xfrm>
        </p:grpSpPr>
        <p:sp>
          <p:nvSpPr>
            <p:cNvPr id="1949" name="Google Shape;1949;p13"/>
            <p:cNvSpPr/>
            <p:nvPr/>
          </p:nvSpPr>
          <p:spPr>
            <a:xfrm>
              <a:off x="6991106" y="4111163"/>
              <a:ext cx="4650029" cy="8186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76213" marR="0" lvl="1" indent="-176213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260"/>
                <a:buFont typeface="Noto Sans Symbols"/>
                <a:buChar char="▪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Multinational, multi-skilled teams allowing you to access top talents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rPr>
                <a:t>across different geographies</a:t>
              </a:r>
            </a:p>
            <a:p>
              <a:pPr marL="176213" marR="0" lvl="1" indent="-176213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260"/>
                <a:buFont typeface="Noto Sans Symbols"/>
                <a:buChar char="▪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rPr>
                <a:t>Retained model granting maximum flexibility to scale up when needed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Arial"/>
              </a:endParaRPr>
            </a:p>
          </p:txBody>
        </p:sp>
        <p:sp>
          <p:nvSpPr>
            <p:cNvPr id="1950" name="Google Shape;1950;p13"/>
            <p:cNvSpPr/>
            <p:nvPr/>
          </p:nvSpPr>
          <p:spPr>
            <a:xfrm>
              <a:off x="5013665" y="4264918"/>
              <a:ext cx="1779405" cy="4678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B9FF"/>
                  </a:solidFill>
                  <a:effectLst/>
                  <a:uLnTx/>
                  <a:uFillTx/>
                  <a:latin typeface="Franklin Gothic"/>
                  <a:ea typeface="Franklin Gothic"/>
                  <a:cs typeface="Franklin Gothic"/>
                  <a:sym typeface="Franklin Gothic"/>
                </a:rPr>
                <a:t>Flexibility and scalability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51" name="Google Shape;1951;p13"/>
            <p:cNvSpPr/>
            <p:nvPr/>
          </p:nvSpPr>
          <p:spPr>
            <a:xfrm>
              <a:off x="3945835" y="4036050"/>
              <a:ext cx="925556" cy="925556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635000" algn="t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952" name="Google Shape;1952;p13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4163484" y="4252650"/>
              <a:ext cx="492356" cy="49235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953" name="Google Shape;1953;p13"/>
          <p:cNvGrpSpPr/>
          <p:nvPr/>
        </p:nvGrpSpPr>
        <p:grpSpPr>
          <a:xfrm>
            <a:off x="3945835" y="5197864"/>
            <a:ext cx="7695300" cy="1228028"/>
            <a:chOff x="3945835" y="5012807"/>
            <a:chExt cx="7695300" cy="1228028"/>
          </a:xfrm>
        </p:grpSpPr>
        <p:sp>
          <p:nvSpPr>
            <p:cNvPr id="1954" name="Google Shape;1954;p13"/>
            <p:cNvSpPr/>
            <p:nvPr/>
          </p:nvSpPr>
          <p:spPr>
            <a:xfrm>
              <a:off x="6991106" y="5012807"/>
              <a:ext cx="4650029" cy="122802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76213" marR="0" lvl="1" indent="-176213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260"/>
                <a:buFont typeface="Noto Sans Symbols"/>
                <a:buChar char="▪"/>
                <a:tabLst/>
                <a:defRPr/>
              </a:pPr>
              <a:r>
                <a:rPr kumimoji="0" lang="en-US" sz="14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rPr>
                <a:t>Brainshoring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rPr>
                <a:t> approach: high quality support, critical thinking and business sense…</a:t>
              </a:r>
            </a:p>
            <a:p>
              <a:pPr marL="176213" marR="0" lvl="1" indent="-176213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260"/>
                <a:buFont typeface="Noto Sans Symbols"/>
                <a:buChar char="▪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rPr>
                <a:t>…provided to our clients from our nearshore locations: Casablanca, Mexico and Cairo</a:t>
              </a:r>
            </a:p>
            <a:p>
              <a:pPr marL="176213" marR="0" lvl="1" indent="-176213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260"/>
                <a:buFont typeface="Noto Sans Symbols"/>
                <a:buChar char="▪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rPr>
                <a:t>Retainer model granting full dedication to clients and most cost-effective daily/hourly rate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cs typeface="Calibri"/>
                <a:sym typeface="Arial"/>
              </a:endParaRPr>
            </a:p>
          </p:txBody>
        </p:sp>
        <p:sp>
          <p:nvSpPr>
            <p:cNvPr id="1955" name="Google Shape;1955;p13"/>
            <p:cNvSpPr/>
            <p:nvPr/>
          </p:nvSpPr>
          <p:spPr>
            <a:xfrm>
              <a:off x="5013665" y="5224916"/>
              <a:ext cx="1779405" cy="7017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B9FF"/>
                  </a:solidFill>
                  <a:effectLst/>
                  <a:uLnTx/>
                  <a:uFillTx/>
                  <a:latin typeface="Franklin Gothic"/>
                  <a:ea typeface="Franklin Gothic"/>
                  <a:cs typeface="Franklin Gothic"/>
                  <a:sym typeface="Franklin Gothic"/>
                </a:rPr>
                <a:t>Value added services at a competitive price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56" name="Google Shape;1956;p13"/>
            <p:cNvSpPr/>
            <p:nvPr/>
          </p:nvSpPr>
          <p:spPr>
            <a:xfrm>
              <a:off x="3945835" y="5113003"/>
              <a:ext cx="925556" cy="925556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635000" algn="t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957" name="Google Shape;1957;p13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4165600" y="5342101"/>
              <a:ext cx="467360" cy="467360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1958" name="Google Shape;1958;p13"/>
          <p:cNvCxnSpPr/>
          <p:nvPr/>
        </p:nvCxnSpPr>
        <p:spPr>
          <a:xfrm>
            <a:off x="5029200" y="2719385"/>
            <a:ext cx="6611938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959" name="Google Shape;1959;p13"/>
          <p:cNvCxnSpPr/>
          <p:nvPr/>
        </p:nvCxnSpPr>
        <p:spPr>
          <a:xfrm>
            <a:off x="5029200" y="4033354"/>
            <a:ext cx="6611938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960" name="Google Shape;1960;p13"/>
          <p:cNvCxnSpPr/>
          <p:nvPr/>
        </p:nvCxnSpPr>
        <p:spPr>
          <a:xfrm>
            <a:off x="5029200" y="5118212"/>
            <a:ext cx="6611938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961" name="Google Shape;1961;p13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2" name="Google Shape;1962;p13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2645343" cy="886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</a:pPr>
            <a:r>
              <a:rPr lang="en-US" sz="3200">
                <a:solidFill>
                  <a:schemeClr val="lt1"/>
                </a:solidFill>
              </a:rPr>
              <a:t>Why work</a:t>
            </a:r>
            <a:br>
              <a:rPr lang="en-US" sz="3200">
                <a:solidFill>
                  <a:schemeClr val="lt1"/>
                </a:solidFill>
              </a:rPr>
            </a:br>
            <a:r>
              <a:rPr lang="en-US" sz="3200">
                <a:solidFill>
                  <a:schemeClr val="lt1"/>
                </a:solidFill>
              </a:rPr>
              <a:t>with us</a:t>
            </a:r>
            <a:endParaRPr/>
          </a:p>
        </p:txBody>
      </p:sp>
      <p:sp>
        <p:nvSpPr>
          <p:cNvPr id="2" name="Google Shape;1400;p8">
            <a:extLst>
              <a:ext uri="{FF2B5EF4-FFF2-40B4-BE49-F238E27FC236}">
                <a16:creationId xmlns:a16="http://schemas.microsoft.com/office/drawing/2014/main" id="{ABD977B5-BC5B-CD90-AD54-B1263D3C20A8}"/>
              </a:ext>
            </a:extLst>
          </p:cNvPr>
          <p:cNvSpPr txBox="1"/>
          <p:nvPr/>
        </p:nvSpPr>
        <p:spPr>
          <a:xfrm>
            <a:off x="10976464" y="292682"/>
            <a:ext cx="533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  <a:t>Analytic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F47F2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8C91F34-99FE-A0F2-1631-707675B45D6E}"/>
              </a:ext>
            </a:extLst>
          </p:cNvPr>
          <p:cNvGrpSpPr/>
          <p:nvPr/>
        </p:nvGrpSpPr>
        <p:grpSpPr>
          <a:xfrm>
            <a:off x="11557889" y="135255"/>
            <a:ext cx="468744" cy="468742"/>
            <a:chOff x="11706853" y="287655"/>
            <a:chExt cx="468744" cy="468742"/>
          </a:xfrm>
        </p:grpSpPr>
        <p:sp>
          <p:nvSpPr>
            <p:cNvPr id="4" name="Google Shape;1401;p8">
              <a:extLst>
                <a:ext uri="{FF2B5EF4-FFF2-40B4-BE49-F238E27FC236}">
                  <a16:creationId xmlns:a16="http://schemas.microsoft.com/office/drawing/2014/main" id="{B3FB06FF-7FF9-25E3-6E75-6097DAE01DE6}"/>
                </a:ext>
              </a:extLst>
            </p:cNvPr>
            <p:cNvSpPr/>
            <p:nvPr/>
          </p:nvSpPr>
          <p:spPr>
            <a:xfrm>
              <a:off x="11706853" y="287655"/>
              <a:ext cx="468744" cy="46874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  <a:tabLst/>
                <a:defRPr/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1D27928-9DCE-25B6-C16C-B84A9BAF2C9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lum bright="70000" contrast="-70000"/>
              <a:alphaModFix/>
            </a:blip>
            <a:stretch>
              <a:fillRect/>
            </a:stretch>
          </p:blipFill>
          <p:spPr>
            <a:xfrm>
              <a:off x="11795074" y="375875"/>
              <a:ext cx="292302" cy="292302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278034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5</TotalTime>
  <Words>1535</Words>
  <Application>Microsoft Office PowerPoint</Application>
  <PresentationFormat>Widescreen</PresentationFormat>
  <Paragraphs>292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Calibri</vt:lpstr>
      <vt:lpstr>Arial</vt:lpstr>
      <vt:lpstr>Libre Franklin</vt:lpstr>
      <vt:lpstr>Franklin Gothic</vt:lpstr>
      <vt:lpstr>Wingdings</vt:lpstr>
      <vt:lpstr>Noto Sans Symbols</vt:lpstr>
      <vt:lpstr>Lato Black</vt:lpstr>
      <vt:lpstr>2_Office Theme</vt:lpstr>
      <vt:lpstr>3_Office Theme</vt:lpstr>
      <vt:lpstr>4_Office Theme</vt:lpstr>
      <vt:lpstr>think-cell Slide</vt:lpstr>
      <vt:lpstr>Data Analytics</vt:lpstr>
      <vt:lpstr>Infomineo has a unique approach to Data Analytics</vt:lpstr>
      <vt:lpstr>Infomineo offers a full suite of Data Analytics Services</vt:lpstr>
      <vt:lpstr>Infomineo team provides a complete solution for your data needs</vt:lpstr>
      <vt:lpstr>Infomineo approach to helping you</vt:lpstr>
      <vt:lpstr>Infomineo can handle all steps of a Data Use Case</vt:lpstr>
      <vt:lpstr>Examples of potential uses cases</vt:lpstr>
      <vt:lpstr>PowerPoint Presentation</vt:lpstr>
      <vt:lpstr>Why work with u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mineo offers a full suite of Data Analytics Services</dc:title>
  <dc:creator>Casa 2</dc:creator>
  <cp:lastModifiedBy>Casa 2</cp:lastModifiedBy>
  <cp:revision>9</cp:revision>
  <dcterms:created xsi:type="dcterms:W3CDTF">2023-02-07T16:53:19Z</dcterms:created>
  <dcterms:modified xsi:type="dcterms:W3CDTF">2023-02-13T14:42:30Z</dcterms:modified>
</cp:coreProperties>
</file>